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69" r:id="rId2"/>
    <p:sldId id="258" r:id="rId3"/>
    <p:sldId id="259" r:id="rId4"/>
    <p:sldId id="260" r:id="rId5"/>
    <p:sldId id="268" r:id="rId6"/>
    <p:sldId id="261" r:id="rId7"/>
    <p:sldId id="262" r:id="rId8"/>
    <p:sldId id="263" r:id="rId9"/>
    <p:sldId id="266" r:id="rId10"/>
    <p:sldId id="270" r:id="rId11"/>
    <p:sldId id="264" r:id="rId12"/>
    <p:sldId id="267" r:id="rId13"/>
    <p:sldId id="265" r:id="rId14"/>
  </p:sldIdLst>
  <p:sldSz cx="12192000" cy="6858000"/>
  <p:notesSz cx="6858000" cy="9144000"/>
  <p:custDataLst>
    <p:tags r:id="rId16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FAF7E"/>
    <a:srgbClr val="A1A1A1"/>
    <a:srgbClr val="0E0F14"/>
    <a:srgbClr val="0A0B10"/>
    <a:srgbClr val="6599C0"/>
    <a:srgbClr val="D2C6AC"/>
    <a:srgbClr val="E4E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A119BB-21F2-4C39-BAF1-CD16B3F62403}" v="3325" dt="2024-09-06T08:32:45.73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6320" autoAdjust="0"/>
  </p:normalViewPr>
  <p:slideViewPr>
    <p:cSldViewPr snapToGrid="0">
      <p:cViewPr>
        <p:scale>
          <a:sx n="75" d="100"/>
          <a:sy n="75" d="100"/>
        </p:scale>
        <p:origin x="1002" y="438"/>
      </p:cViewPr>
      <p:guideLst>
        <p:guide orient="horz" pos="618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eskovvi .." userId="7c69300a0eb9d815" providerId="LiveId" clId="{31A119BB-21F2-4C39-BAF1-CD16B3F62403}"/>
    <pc:docChg chg="undo redo custSel addSld delSld modSld sldOrd">
      <pc:chgData name="Preskovvi .." userId="7c69300a0eb9d815" providerId="LiveId" clId="{31A119BB-21F2-4C39-BAF1-CD16B3F62403}" dt="2024-09-06T11:24:41.825" v="6783" actId="20577"/>
      <pc:docMkLst>
        <pc:docMk/>
      </pc:docMkLst>
      <pc:sldChg chg="addSp modSp del mod">
        <pc:chgData name="Preskovvi .." userId="7c69300a0eb9d815" providerId="LiveId" clId="{31A119BB-21F2-4C39-BAF1-CD16B3F62403}" dt="2024-09-06T08:41:31.397" v="6748" actId="47"/>
        <pc:sldMkLst>
          <pc:docMk/>
          <pc:sldMk cId="4270667607" sldId="256"/>
        </pc:sldMkLst>
        <pc:spChg chg="add mod ord">
          <ac:chgData name="Preskovvi .." userId="7c69300a0eb9d815" providerId="LiveId" clId="{31A119BB-21F2-4C39-BAF1-CD16B3F62403}" dt="2024-09-06T01:59:57.895" v="6369" actId="1076"/>
          <ac:spMkLst>
            <pc:docMk/>
            <pc:sldMk cId="4270667607" sldId="256"/>
            <ac:spMk id="3" creationId="{F014CAE8-DE72-0821-0866-AC0B80906758}"/>
          </ac:spMkLst>
        </pc:spChg>
        <pc:spChg chg="add mod ord">
          <ac:chgData name="Preskovvi .." userId="7c69300a0eb9d815" providerId="LiveId" clId="{31A119BB-21F2-4C39-BAF1-CD16B3F62403}" dt="2024-09-06T08:28:55.005" v="6669"/>
          <ac:spMkLst>
            <pc:docMk/>
            <pc:sldMk cId="4270667607" sldId="256"/>
            <ac:spMk id="5" creationId="{D5DA6762-6BE3-E0A4-8B84-84D97990FFD8}"/>
          </ac:spMkLst>
        </pc:spChg>
        <pc:graphicFrameChg chg="mod">
          <ac:chgData name="Preskovvi .." userId="7c69300a0eb9d815" providerId="LiveId" clId="{31A119BB-21F2-4C39-BAF1-CD16B3F62403}" dt="2024-09-06T01:59:50.431" v="6368"/>
          <ac:graphicFrameMkLst>
            <pc:docMk/>
            <pc:sldMk cId="4270667607" sldId="256"/>
            <ac:graphicFrameMk id="4" creationId="{88EA9C2E-0A49-8BF2-DC81-AB857322CE89}"/>
          </ac:graphicFrameMkLst>
        </pc:graphicFrameChg>
        <pc:picChg chg="add mod">
          <ac:chgData name="Preskovvi .." userId="7c69300a0eb9d815" providerId="LiveId" clId="{31A119BB-21F2-4C39-BAF1-CD16B3F62403}" dt="2024-09-06T08:29:00.158" v="6671" actId="1076"/>
          <ac:picMkLst>
            <pc:docMk/>
            <pc:sldMk cId="4270667607" sldId="256"/>
            <ac:picMk id="8194" creationId="{C5AB377E-3BFA-F4FC-DD51-4D49F1393330}"/>
          </ac:picMkLst>
        </pc:picChg>
      </pc:sldChg>
      <pc:sldChg chg="addSp delSp modSp del mod">
        <pc:chgData name="Preskovvi .." userId="7c69300a0eb9d815" providerId="LiveId" clId="{31A119BB-21F2-4C39-BAF1-CD16B3F62403}" dt="2024-09-06T01:58:55.440" v="6358" actId="47"/>
        <pc:sldMkLst>
          <pc:docMk/>
          <pc:sldMk cId="1434033909" sldId="257"/>
        </pc:sldMkLst>
        <pc:spChg chg="add mod">
          <ac:chgData name="Preskovvi .." userId="7c69300a0eb9d815" providerId="LiveId" clId="{31A119BB-21F2-4C39-BAF1-CD16B3F62403}" dt="2024-09-05T09:43:45.961" v="5" actId="20577"/>
          <ac:spMkLst>
            <pc:docMk/>
            <pc:sldMk cId="1434033909" sldId="257"/>
            <ac:spMk id="3" creationId="{167C905A-03FA-8ECB-A223-370D7E437AE1}"/>
          </ac:spMkLst>
        </pc:spChg>
        <pc:picChg chg="add del mod">
          <ac:chgData name="Preskovvi .." userId="7c69300a0eb9d815" providerId="LiveId" clId="{31A119BB-21F2-4C39-BAF1-CD16B3F62403}" dt="2024-09-05T10:36:54.728" v="8" actId="21"/>
          <ac:picMkLst>
            <pc:docMk/>
            <pc:sldMk cId="1434033909" sldId="257"/>
            <ac:picMk id="5" creationId="{0DFC6547-BF3B-EA5F-A93A-2DA7B937DB22}"/>
          </ac:picMkLst>
        </pc:picChg>
      </pc:sldChg>
      <pc:sldChg chg="addSp delSp modSp mod modAnim">
        <pc:chgData name="Preskovvi .." userId="7c69300a0eb9d815" providerId="LiveId" clId="{31A119BB-21F2-4C39-BAF1-CD16B3F62403}" dt="2024-09-06T08:19:55.881" v="6637"/>
        <pc:sldMkLst>
          <pc:docMk/>
          <pc:sldMk cId="2866038284" sldId="258"/>
        </pc:sldMkLst>
        <pc:spChg chg="add del">
          <ac:chgData name="Preskovvi .." userId="7c69300a0eb9d815" providerId="LiveId" clId="{31A119BB-21F2-4C39-BAF1-CD16B3F62403}" dt="2024-09-05T20:47:59.577" v="89" actId="478"/>
          <ac:spMkLst>
            <pc:docMk/>
            <pc:sldMk cId="2866038284" sldId="258"/>
            <ac:spMk id="2" creationId="{CFD20BED-1D0F-5055-1192-CDE778819597}"/>
          </ac:spMkLst>
        </pc:spChg>
        <pc:spChg chg="add del">
          <ac:chgData name="Preskovvi .." userId="7c69300a0eb9d815" providerId="LiveId" clId="{31A119BB-21F2-4C39-BAF1-CD16B3F62403}" dt="2024-09-05T20:48:10.756" v="91" actId="478"/>
          <ac:spMkLst>
            <pc:docMk/>
            <pc:sldMk cId="2866038284" sldId="258"/>
            <ac:spMk id="3" creationId="{4CA0BF21-0FC3-029F-2C6E-C3FB662933F2}"/>
          </ac:spMkLst>
        </pc:spChg>
        <pc:spChg chg="add del mod">
          <ac:chgData name="Preskovvi .." userId="7c69300a0eb9d815" providerId="LiveId" clId="{31A119BB-21F2-4C39-BAF1-CD16B3F62403}" dt="2024-09-05T22:06:47.056" v="476" actId="478"/>
          <ac:spMkLst>
            <pc:docMk/>
            <pc:sldMk cId="2866038284" sldId="258"/>
            <ac:spMk id="5" creationId="{823079E9-0122-B533-EE59-052C950DEDDA}"/>
          </ac:spMkLst>
        </pc:spChg>
        <pc:spChg chg="add del mod">
          <ac:chgData name="Preskovvi .." userId="7c69300a0eb9d815" providerId="LiveId" clId="{31A119BB-21F2-4C39-BAF1-CD16B3F62403}" dt="2024-09-05T22:06:47.056" v="476" actId="478"/>
          <ac:spMkLst>
            <pc:docMk/>
            <pc:sldMk cId="2866038284" sldId="258"/>
            <ac:spMk id="6" creationId="{B35CB7AF-1C94-8178-3A7E-1CB191E324D0}"/>
          </ac:spMkLst>
        </pc:spChg>
        <pc:spChg chg="add del mod">
          <ac:chgData name="Preskovvi .." userId="7c69300a0eb9d815" providerId="LiveId" clId="{31A119BB-21F2-4C39-BAF1-CD16B3F62403}" dt="2024-09-05T22:06:47.056" v="476" actId="478"/>
          <ac:spMkLst>
            <pc:docMk/>
            <pc:sldMk cId="2866038284" sldId="258"/>
            <ac:spMk id="7" creationId="{B909EEFD-2FC1-214E-B110-41BDC1E978E1}"/>
          </ac:spMkLst>
        </pc:spChg>
        <pc:spChg chg="add del mod">
          <ac:chgData name="Preskovvi .." userId="7c69300a0eb9d815" providerId="LiveId" clId="{31A119BB-21F2-4C39-BAF1-CD16B3F62403}" dt="2024-09-05T22:06:47.056" v="476" actId="478"/>
          <ac:spMkLst>
            <pc:docMk/>
            <pc:sldMk cId="2866038284" sldId="258"/>
            <ac:spMk id="8" creationId="{24EBE8C8-6F86-7045-551E-4B098405D0E4}"/>
          </ac:spMkLst>
        </pc:spChg>
        <pc:spChg chg="add del mod">
          <ac:chgData name="Preskovvi .." userId="7c69300a0eb9d815" providerId="LiveId" clId="{31A119BB-21F2-4C39-BAF1-CD16B3F62403}" dt="2024-09-05T22:06:47.056" v="476" actId="478"/>
          <ac:spMkLst>
            <pc:docMk/>
            <pc:sldMk cId="2866038284" sldId="258"/>
            <ac:spMk id="9" creationId="{25CC15ED-CEEE-7347-55BE-BE45CEA5C8A6}"/>
          </ac:spMkLst>
        </pc:spChg>
        <pc:spChg chg="add mod">
          <ac:chgData name="Preskovvi .." userId="7c69300a0eb9d815" providerId="LiveId" clId="{31A119BB-21F2-4C39-BAF1-CD16B3F62403}" dt="2024-09-05T22:09:13.853" v="491" actId="207"/>
          <ac:spMkLst>
            <pc:docMk/>
            <pc:sldMk cId="2866038284" sldId="258"/>
            <ac:spMk id="11" creationId="{A2F7C1E5-1AAC-7ECF-D581-ABDA7276397F}"/>
          </ac:spMkLst>
        </pc:spChg>
        <pc:spChg chg="add mod">
          <ac:chgData name="Preskovvi .." userId="7c69300a0eb9d815" providerId="LiveId" clId="{31A119BB-21F2-4C39-BAF1-CD16B3F62403}" dt="2024-09-06T07:34:01.180" v="6378" actId="164"/>
          <ac:spMkLst>
            <pc:docMk/>
            <pc:sldMk cId="2866038284" sldId="258"/>
            <ac:spMk id="13" creationId="{6DBFFD40-45FA-D4B8-F07E-DCCE56D40286}"/>
          </ac:spMkLst>
        </pc:spChg>
        <pc:spChg chg="add del mod">
          <ac:chgData name="Preskovvi .." userId="7c69300a0eb9d815" providerId="LiveId" clId="{31A119BB-21F2-4C39-BAF1-CD16B3F62403}" dt="2024-09-06T07:34:01.180" v="6378" actId="164"/>
          <ac:spMkLst>
            <pc:docMk/>
            <pc:sldMk cId="2866038284" sldId="258"/>
            <ac:spMk id="15" creationId="{476A39CD-5738-5819-0FC9-AA2A205AD73F}"/>
          </ac:spMkLst>
        </pc:spChg>
        <pc:spChg chg="add mod">
          <ac:chgData name="Preskovvi .." userId="7c69300a0eb9d815" providerId="LiveId" clId="{31A119BB-21F2-4C39-BAF1-CD16B3F62403}" dt="2024-09-06T07:34:01.180" v="6378" actId="164"/>
          <ac:spMkLst>
            <pc:docMk/>
            <pc:sldMk cId="2866038284" sldId="258"/>
            <ac:spMk id="16" creationId="{C8827F43-9E75-E645-3B17-3F5DED7BC6E1}"/>
          </ac:spMkLst>
        </pc:spChg>
        <pc:spChg chg="add mod">
          <ac:chgData name="Preskovvi .." userId="7c69300a0eb9d815" providerId="LiveId" clId="{31A119BB-21F2-4C39-BAF1-CD16B3F62403}" dt="2024-09-06T07:34:45.849" v="6380" actId="164"/>
          <ac:spMkLst>
            <pc:docMk/>
            <pc:sldMk cId="2866038284" sldId="258"/>
            <ac:spMk id="17" creationId="{AA79D12F-B808-EC8C-2498-B25C5AD547F1}"/>
          </ac:spMkLst>
        </pc:spChg>
        <pc:spChg chg="add mod">
          <ac:chgData name="Preskovvi .." userId="7c69300a0eb9d815" providerId="LiveId" clId="{31A119BB-21F2-4C39-BAF1-CD16B3F62403}" dt="2024-09-06T07:34:45.849" v="6380" actId="164"/>
          <ac:spMkLst>
            <pc:docMk/>
            <pc:sldMk cId="2866038284" sldId="258"/>
            <ac:spMk id="18" creationId="{D4441765-7481-34EA-EB97-C4EF5760C814}"/>
          </ac:spMkLst>
        </pc:spChg>
        <pc:spChg chg="add mod">
          <ac:chgData name="Preskovvi .." userId="7c69300a0eb9d815" providerId="LiveId" clId="{31A119BB-21F2-4C39-BAF1-CD16B3F62403}" dt="2024-09-06T07:34:45.849" v="6380" actId="164"/>
          <ac:spMkLst>
            <pc:docMk/>
            <pc:sldMk cId="2866038284" sldId="258"/>
            <ac:spMk id="19" creationId="{7ED6C147-D3D7-2DBC-91C4-261AF8D66131}"/>
          </ac:spMkLst>
        </pc:spChg>
        <pc:spChg chg="add del mod">
          <ac:chgData name="Preskovvi .." userId="7c69300a0eb9d815" providerId="LiveId" clId="{31A119BB-21F2-4C39-BAF1-CD16B3F62403}" dt="2024-09-05T21:27:07.701" v="367" actId="478"/>
          <ac:spMkLst>
            <pc:docMk/>
            <pc:sldMk cId="2866038284" sldId="258"/>
            <ac:spMk id="20" creationId="{16A03A24-847C-8C7C-AFA3-DEA50ACC4144}"/>
          </ac:spMkLst>
        </pc:spChg>
        <pc:spChg chg="add mod">
          <ac:chgData name="Preskovvi .." userId="7c69300a0eb9d815" providerId="LiveId" clId="{31A119BB-21F2-4C39-BAF1-CD16B3F62403}" dt="2024-09-06T08:18:44.861" v="6631" actId="164"/>
          <ac:spMkLst>
            <pc:docMk/>
            <pc:sldMk cId="2866038284" sldId="258"/>
            <ac:spMk id="21" creationId="{463E908B-9826-792F-5757-9E6A684D2B2C}"/>
          </ac:spMkLst>
        </pc:spChg>
        <pc:spChg chg="add mod">
          <ac:chgData name="Preskovvi .." userId="7c69300a0eb9d815" providerId="LiveId" clId="{31A119BB-21F2-4C39-BAF1-CD16B3F62403}" dt="2024-09-06T08:18:44.861" v="6631" actId="164"/>
          <ac:spMkLst>
            <pc:docMk/>
            <pc:sldMk cId="2866038284" sldId="258"/>
            <ac:spMk id="22" creationId="{8D4C2874-84FD-640E-0461-6439BB3E2B46}"/>
          </ac:spMkLst>
        </pc:spChg>
        <pc:spChg chg="add mod">
          <ac:chgData name="Preskovvi .." userId="7c69300a0eb9d815" providerId="LiveId" clId="{31A119BB-21F2-4C39-BAF1-CD16B3F62403}" dt="2024-09-06T08:18:44.861" v="6631" actId="164"/>
          <ac:spMkLst>
            <pc:docMk/>
            <pc:sldMk cId="2866038284" sldId="258"/>
            <ac:spMk id="23" creationId="{DBCAA365-58CD-2B9F-B225-BF192E1A65DE}"/>
          </ac:spMkLst>
        </pc:spChg>
        <pc:spChg chg="add del mod">
          <ac:chgData name="Preskovvi .." userId="7c69300a0eb9d815" providerId="LiveId" clId="{31A119BB-21F2-4C39-BAF1-CD16B3F62403}" dt="2024-09-05T21:35:11.545" v="402" actId="478"/>
          <ac:spMkLst>
            <pc:docMk/>
            <pc:sldMk cId="2866038284" sldId="258"/>
            <ac:spMk id="24" creationId="{0AC67244-45F7-BD5C-5D58-2351F477ADB0}"/>
          </ac:spMkLst>
        </pc:spChg>
        <pc:spChg chg="add mod">
          <ac:chgData name="Preskovvi .." userId="7c69300a0eb9d815" providerId="LiveId" clId="{31A119BB-21F2-4C39-BAF1-CD16B3F62403}" dt="2024-09-06T08:18:31.020" v="6629" actId="164"/>
          <ac:spMkLst>
            <pc:docMk/>
            <pc:sldMk cId="2866038284" sldId="258"/>
            <ac:spMk id="25" creationId="{0B806912-B1E7-49BD-6AC2-C59DD7DD8150}"/>
          </ac:spMkLst>
        </pc:spChg>
        <pc:spChg chg="add del mod">
          <ac:chgData name="Preskovvi .." userId="7c69300a0eb9d815" providerId="LiveId" clId="{31A119BB-21F2-4C39-BAF1-CD16B3F62403}" dt="2024-09-05T21:35:59.623" v="407" actId="478"/>
          <ac:spMkLst>
            <pc:docMk/>
            <pc:sldMk cId="2866038284" sldId="258"/>
            <ac:spMk id="26" creationId="{55B23D60-574E-FE1D-6D4C-17FF1109083C}"/>
          </ac:spMkLst>
        </pc:spChg>
        <pc:spChg chg="add mod">
          <ac:chgData name="Preskovvi .." userId="7c69300a0eb9d815" providerId="LiveId" clId="{31A119BB-21F2-4C39-BAF1-CD16B3F62403}" dt="2024-09-06T08:18:31.020" v="6629" actId="164"/>
          <ac:spMkLst>
            <pc:docMk/>
            <pc:sldMk cId="2866038284" sldId="258"/>
            <ac:spMk id="27" creationId="{A3103571-6E20-0A7A-529F-CD6A8D741CB2}"/>
          </ac:spMkLst>
        </pc:spChg>
        <pc:spChg chg="add mod">
          <ac:chgData name="Preskovvi .." userId="7c69300a0eb9d815" providerId="LiveId" clId="{31A119BB-21F2-4C39-BAF1-CD16B3F62403}" dt="2024-09-06T08:18:31.020" v="6629" actId="164"/>
          <ac:spMkLst>
            <pc:docMk/>
            <pc:sldMk cId="2866038284" sldId="258"/>
            <ac:spMk id="28" creationId="{FB08DF3E-1725-85AB-47BF-6E931379542E}"/>
          </ac:spMkLst>
        </pc:spChg>
        <pc:spChg chg="add del">
          <ac:chgData name="Preskovvi .." userId="7c69300a0eb9d815" providerId="LiveId" clId="{31A119BB-21F2-4C39-BAF1-CD16B3F62403}" dt="2024-09-05T22:00:10.031" v="454" actId="478"/>
          <ac:spMkLst>
            <pc:docMk/>
            <pc:sldMk cId="2866038284" sldId="258"/>
            <ac:spMk id="29" creationId="{1894B859-8EB1-B398-52A4-BAD596317FF0}"/>
          </ac:spMkLst>
        </pc:spChg>
        <pc:spChg chg="add mod">
          <ac:chgData name="Preskovvi .." userId="7c69300a0eb9d815" providerId="LiveId" clId="{31A119BB-21F2-4C39-BAF1-CD16B3F62403}" dt="2024-09-06T08:18:10.207" v="6627" actId="1038"/>
          <ac:spMkLst>
            <pc:docMk/>
            <pc:sldMk cId="2866038284" sldId="258"/>
            <ac:spMk id="30" creationId="{98C65FB5-2E19-4BE3-AE52-4B9BFF386811}"/>
          </ac:spMkLst>
        </pc:spChg>
        <pc:spChg chg="add mod">
          <ac:chgData name="Preskovvi .." userId="7c69300a0eb9d815" providerId="LiveId" clId="{31A119BB-21F2-4C39-BAF1-CD16B3F62403}" dt="2024-09-06T08:18:10.207" v="6627" actId="1038"/>
          <ac:spMkLst>
            <pc:docMk/>
            <pc:sldMk cId="2866038284" sldId="258"/>
            <ac:spMk id="31" creationId="{3E003D7C-4524-E2DE-7707-A810160D6154}"/>
          </ac:spMkLst>
        </pc:spChg>
        <pc:spChg chg="add mod">
          <ac:chgData name="Preskovvi .." userId="7c69300a0eb9d815" providerId="LiveId" clId="{31A119BB-21F2-4C39-BAF1-CD16B3F62403}" dt="2024-09-06T08:18:10.207" v="6627" actId="1038"/>
          <ac:spMkLst>
            <pc:docMk/>
            <pc:sldMk cId="2866038284" sldId="258"/>
            <ac:spMk id="37" creationId="{F2928BF3-1639-37A9-4889-F7AD2D719D79}"/>
          </ac:spMkLst>
        </pc:spChg>
        <pc:spChg chg="add del">
          <ac:chgData name="Preskovvi .." userId="7c69300a0eb9d815" providerId="LiveId" clId="{31A119BB-21F2-4C39-BAF1-CD16B3F62403}" dt="2024-09-05T22:08:44.457" v="490" actId="478"/>
          <ac:spMkLst>
            <pc:docMk/>
            <pc:sldMk cId="2866038284" sldId="258"/>
            <ac:spMk id="38" creationId="{084C4342-4CF7-91F3-DC62-15A8AEEA3347}"/>
          </ac:spMkLst>
        </pc:spChg>
        <pc:grpChg chg="add mod">
          <ac:chgData name="Preskovvi .." userId="7c69300a0eb9d815" providerId="LiveId" clId="{31A119BB-21F2-4C39-BAF1-CD16B3F62403}" dt="2024-09-06T07:34:01.180" v="6378" actId="164"/>
          <ac:grpSpMkLst>
            <pc:docMk/>
            <pc:sldMk cId="2866038284" sldId="258"/>
            <ac:grpSpMk id="39" creationId="{4BCA85BC-EBD1-9C48-6202-9A505F66F960}"/>
          </ac:grpSpMkLst>
        </pc:grpChg>
        <pc:grpChg chg="add mod">
          <ac:chgData name="Preskovvi .." userId="7c69300a0eb9d815" providerId="LiveId" clId="{31A119BB-21F2-4C39-BAF1-CD16B3F62403}" dt="2024-09-06T07:34:45.849" v="6380" actId="164"/>
          <ac:grpSpMkLst>
            <pc:docMk/>
            <pc:sldMk cId="2866038284" sldId="258"/>
            <ac:grpSpMk id="40" creationId="{8F7289BA-9814-A4D1-362E-038B639668D9}"/>
          </ac:grpSpMkLst>
        </pc:grpChg>
        <pc:grpChg chg="add mod">
          <ac:chgData name="Preskovvi .." userId="7c69300a0eb9d815" providerId="LiveId" clId="{31A119BB-21F2-4C39-BAF1-CD16B3F62403}" dt="2024-09-06T08:17:54.397" v="6622" actId="164"/>
          <ac:grpSpMkLst>
            <pc:docMk/>
            <pc:sldMk cId="2866038284" sldId="258"/>
            <ac:grpSpMk id="41" creationId="{0C453E43-42AD-10BE-66C1-9F353F66F0DB}"/>
          </ac:grpSpMkLst>
        </pc:grpChg>
        <pc:grpChg chg="add mod">
          <ac:chgData name="Preskovvi .." userId="7c69300a0eb9d815" providerId="LiveId" clId="{31A119BB-21F2-4C39-BAF1-CD16B3F62403}" dt="2024-09-06T08:18:10.207" v="6627" actId="1038"/>
          <ac:grpSpMkLst>
            <pc:docMk/>
            <pc:sldMk cId="2866038284" sldId="258"/>
            <ac:grpSpMk id="42" creationId="{7B57703A-2B4B-FD3F-7112-D8DDD999B033}"/>
          </ac:grpSpMkLst>
        </pc:grpChg>
        <pc:grpChg chg="add mod">
          <ac:chgData name="Preskovvi .." userId="7c69300a0eb9d815" providerId="LiveId" clId="{31A119BB-21F2-4C39-BAF1-CD16B3F62403}" dt="2024-09-06T08:18:31.020" v="6629" actId="164"/>
          <ac:grpSpMkLst>
            <pc:docMk/>
            <pc:sldMk cId="2866038284" sldId="258"/>
            <ac:grpSpMk id="43" creationId="{9BAE33B4-1A69-1274-12F9-1A7FB65D8613}"/>
          </ac:grpSpMkLst>
        </pc:grpChg>
        <pc:grpChg chg="add mod">
          <ac:chgData name="Preskovvi .." userId="7c69300a0eb9d815" providerId="LiveId" clId="{31A119BB-21F2-4C39-BAF1-CD16B3F62403}" dt="2024-09-06T08:18:44.861" v="6631" actId="164"/>
          <ac:grpSpMkLst>
            <pc:docMk/>
            <pc:sldMk cId="2866038284" sldId="258"/>
            <ac:grpSpMk id="44" creationId="{A7795D4C-1EA0-CC05-6757-E45A7D946D9C}"/>
          </ac:grpSpMkLst>
        </pc:grpChg>
        <pc:picChg chg="add del mod">
          <ac:chgData name="Preskovvi .." userId="7c69300a0eb9d815" providerId="LiveId" clId="{31A119BB-21F2-4C39-BAF1-CD16B3F62403}" dt="2024-09-05T22:06:41.803" v="475" actId="21"/>
          <ac:picMkLst>
            <pc:docMk/>
            <pc:sldMk cId="2866038284" sldId="258"/>
            <ac:picMk id="14" creationId="{F791944B-DD6E-F9DB-F1AE-B39190668FBB}"/>
          </ac:picMkLst>
        </pc:picChg>
        <pc:picChg chg="add mod">
          <ac:chgData name="Preskovvi .." userId="7c69300a0eb9d815" providerId="LiveId" clId="{31A119BB-21F2-4C39-BAF1-CD16B3F62403}" dt="2024-09-06T07:34:01.180" v="6378" actId="164"/>
          <ac:picMkLst>
            <pc:docMk/>
            <pc:sldMk cId="2866038284" sldId="258"/>
            <ac:picMk id="32" creationId="{F791944B-DD6E-F9DB-F1AE-B39190668FBB}"/>
          </ac:picMkLst>
        </pc:picChg>
        <pc:picChg chg="add mod">
          <ac:chgData name="Preskovvi .." userId="7c69300a0eb9d815" providerId="LiveId" clId="{31A119BB-21F2-4C39-BAF1-CD16B3F62403}" dt="2024-09-06T07:34:45.849" v="6380" actId="164"/>
          <ac:picMkLst>
            <pc:docMk/>
            <pc:sldMk cId="2866038284" sldId="258"/>
            <ac:picMk id="33" creationId="{76E765C1-4290-AA15-DCD1-F3722C19C8FE}"/>
          </ac:picMkLst>
        </pc:picChg>
        <pc:picChg chg="add mod">
          <ac:chgData name="Preskovvi .." userId="7c69300a0eb9d815" providerId="LiveId" clId="{31A119BB-21F2-4C39-BAF1-CD16B3F62403}" dt="2024-09-06T08:18:44.861" v="6631" actId="164"/>
          <ac:picMkLst>
            <pc:docMk/>
            <pc:sldMk cId="2866038284" sldId="258"/>
            <ac:picMk id="34" creationId="{B0B8AD88-6A12-EE64-321C-29ED673B8213}"/>
          </ac:picMkLst>
        </pc:picChg>
        <pc:picChg chg="add mod">
          <ac:chgData name="Preskovvi .." userId="7c69300a0eb9d815" providerId="LiveId" clId="{31A119BB-21F2-4C39-BAF1-CD16B3F62403}" dt="2024-09-06T08:18:31.020" v="6629" actId="164"/>
          <ac:picMkLst>
            <pc:docMk/>
            <pc:sldMk cId="2866038284" sldId="258"/>
            <ac:picMk id="35" creationId="{767D8214-6B60-D8F9-EC1C-B4E40100AD0E}"/>
          </ac:picMkLst>
        </pc:picChg>
        <pc:picChg chg="add mod">
          <ac:chgData name="Preskovvi .." userId="7c69300a0eb9d815" providerId="LiveId" clId="{31A119BB-21F2-4C39-BAF1-CD16B3F62403}" dt="2024-09-06T08:18:10.207" v="6627" actId="1038"/>
          <ac:picMkLst>
            <pc:docMk/>
            <pc:sldMk cId="2866038284" sldId="258"/>
            <ac:picMk id="36" creationId="{3367C612-3481-8664-B7E6-129A55CBC7BB}"/>
          </ac:picMkLst>
        </pc:picChg>
        <pc:picChg chg="add del mod">
          <ac:chgData name="Preskovvi .." userId="7c69300a0eb9d815" providerId="LiveId" clId="{31A119BB-21F2-4C39-BAF1-CD16B3F62403}" dt="2024-09-05T21:09:39.217" v="226" actId="478"/>
          <ac:picMkLst>
            <pc:docMk/>
            <pc:sldMk cId="2866038284" sldId="258"/>
            <ac:picMk id="1030" creationId="{9A8D9180-08FB-640A-7580-726E8B347386}"/>
          </ac:picMkLst>
        </pc:picChg>
        <pc:picChg chg="add del">
          <ac:chgData name="Preskovvi .." userId="7c69300a0eb9d815" providerId="LiveId" clId="{31A119BB-21F2-4C39-BAF1-CD16B3F62403}" dt="2024-09-05T21:13:51.472" v="251" actId="478"/>
          <ac:picMkLst>
            <pc:docMk/>
            <pc:sldMk cId="2866038284" sldId="258"/>
            <ac:picMk id="1032" creationId="{15E1467F-91B9-655F-1362-15A4A0C5486F}"/>
          </ac:picMkLst>
        </pc:picChg>
        <pc:picChg chg="add del mod">
          <ac:chgData name="Preskovvi .." userId="7c69300a0eb9d815" providerId="LiveId" clId="{31A119BB-21F2-4C39-BAF1-CD16B3F62403}" dt="2024-09-05T22:06:41.803" v="475" actId="21"/>
          <ac:picMkLst>
            <pc:docMk/>
            <pc:sldMk cId="2866038284" sldId="258"/>
            <ac:picMk id="1035" creationId="{76E765C1-4290-AA15-DCD1-F3722C19C8FE}"/>
          </ac:picMkLst>
        </pc:picChg>
        <pc:picChg chg="add del mod">
          <ac:chgData name="Preskovvi .." userId="7c69300a0eb9d815" providerId="LiveId" clId="{31A119BB-21F2-4C39-BAF1-CD16B3F62403}" dt="2024-09-05T22:06:41.803" v="475" actId="21"/>
          <ac:picMkLst>
            <pc:docMk/>
            <pc:sldMk cId="2866038284" sldId="258"/>
            <ac:picMk id="1038" creationId="{B0B8AD88-6A12-EE64-321C-29ED673B8213}"/>
          </ac:picMkLst>
        </pc:picChg>
        <pc:picChg chg="add del mod">
          <ac:chgData name="Preskovvi .." userId="7c69300a0eb9d815" providerId="LiveId" clId="{31A119BB-21F2-4C39-BAF1-CD16B3F62403}" dt="2024-09-05T21:46:51.685" v="417" actId="478"/>
          <ac:picMkLst>
            <pc:docMk/>
            <pc:sldMk cId="2866038284" sldId="258"/>
            <ac:picMk id="1041" creationId="{4AFA8AEF-F16B-A8C5-AFDD-9D2D710AC619}"/>
          </ac:picMkLst>
        </pc:picChg>
        <pc:picChg chg="add del mod">
          <ac:chgData name="Preskovvi .." userId="7c69300a0eb9d815" providerId="LiveId" clId="{31A119BB-21F2-4C39-BAF1-CD16B3F62403}" dt="2024-09-05T22:06:41.803" v="475" actId="21"/>
          <ac:picMkLst>
            <pc:docMk/>
            <pc:sldMk cId="2866038284" sldId="258"/>
            <ac:picMk id="1043" creationId="{767D8214-6B60-D8F9-EC1C-B4E40100AD0E}"/>
          </ac:picMkLst>
        </pc:picChg>
        <pc:picChg chg="add del mod">
          <ac:chgData name="Preskovvi .." userId="7c69300a0eb9d815" providerId="LiveId" clId="{31A119BB-21F2-4C39-BAF1-CD16B3F62403}" dt="2024-09-05T22:03:17.215" v="457" actId="478"/>
          <ac:picMkLst>
            <pc:docMk/>
            <pc:sldMk cId="2866038284" sldId="258"/>
            <ac:picMk id="1046" creationId="{EFD9DB04-CA72-5D75-6591-19760F49B353}"/>
          </ac:picMkLst>
        </pc:picChg>
        <pc:picChg chg="add del mod">
          <ac:chgData name="Preskovvi .." userId="7c69300a0eb9d815" providerId="LiveId" clId="{31A119BB-21F2-4C39-BAF1-CD16B3F62403}" dt="2024-09-05T22:06:41.803" v="475" actId="21"/>
          <ac:picMkLst>
            <pc:docMk/>
            <pc:sldMk cId="2866038284" sldId="258"/>
            <ac:picMk id="1048" creationId="{3367C612-3481-8664-B7E6-129A55CBC7BB}"/>
          </ac:picMkLst>
        </pc:picChg>
      </pc:sldChg>
      <pc:sldChg chg="addSp delSp modSp add mod">
        <pc:chgData name="Preskovvi .." userId="7c69300a0eb9d815" providerId="LiveId" clId="{31A119BB-21F2-4C39-BAF1-CD16B3F62403}" dt="2024-09-05T23:49:44.847" v="5120"/>
        <pc:sldMkLst>
          <pc:docMk/>
          <pc:sldMk cId="571756205" sldId="259"/>
        </pc:sldMkLst>
        <pc:spChg chg="add mod ord">
          <ac:chgData name="Preskovvi .." userId="7c69300a0eb9d815" providerId="LiveId" clId="{31A119BB-21F2-4C39-BAF1-CD16B3F62403}" dt="2024-09-05T22:54:59.995" v="4790"/>
          <ac:spMkLst>
            <pc:docMk/>
            <pc:sldMk cId="571756205" sldId="259"/>
            <ac:spMk id="3" creationId="{3948DF14-B5A1-9D6B-9381-2E2B6A7080A7}"/>
          </ac:spMkLst>
        </pc:spChg>
        <pc:spChg chg="add mod ord">
          <ac:chgData name="Preskovvi .." userId="7c69300a0eb9d815" providerId="LiveId" clId="{31A119BB-21F2-4C39-BAF1-CD16B3F62403}" dt="2024-09-05T22:54:59.995" v="4792"/>
          <ac:spMkLst>
            <pc:docMk/>
            <pc:sldMk cId="571756205" sldId="259"/>
            <ac:spMk id="6" creationId="{0AFDA39C-2305-10AE-3B1B-7E04F176C66E}"/>
          </ac:spMkLst>
        </pc:spChg>
        <pc:spChg chg="add del">
          <ac:chgData name="Preskovvi .." userId="7c69300a0eb9d815" providerId="LiveId" clId="{31A119BB-21F2-4C39-BAF1-CD16B3F62403}" dt="2024-09-05T22:22:49.491" v="539" actId="478"/>
          <ac:spMkLst>
            <pc:docMk/>
            <pc:sldMk cId="571756205" sldId="259"/>
            <ac:spMk id="10" creationId="{E992D5CC-1FE6-BE8A-71C8-20AAFBEFCA10}"/>
          </ac:spMkLst>
        </pc:spChg>
        <pc:spChg chg="mod ord">
          <ac:chgData name="Preskovvi .." userId="7c69300a0eb9d815" providerId="LiveId" clId="{31A119BB-21F2-4C39-BAF1-CD16B3F62403}" dt="2024-09-05T23:49:44.847" v="5120"/>
          <ac:spMkLst>
            <pc:docMk/>
            <pc:sldMk cId="571756205" sldId="259"/>
            <ac:spMk id="11" creationId="{A2F7C1E5-1AAC-7ECF-D581-ABDA7276397F}"/>
          </ac:spMkLst>
        </pc:spChg>
        <pc:spChg chg="add mod ord">
          <ac:chgData name="Preskovvi .." userId="7c69300a0eb9d815" providerId="LiveId" clId="{31A119BB-21F2-4C39-BAF1-CD16B3F62403}" dt="2024-09-05T23:10:39.919" v="4888" actId="207"/>
          <ac:spMkLst>
            <pc:docMk/>
            <pc:sldMk cId="571756205" sldId="259"/>
            <ac:spMk id="12" creationId="{5A816E95-65CE-4C8B-733B-78208CD42DB1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13" creationId="{6DBFFD40-45FA-D4B8-F07E-DCCE56D40286}"/>
          </ac:spMkLst>
        </pc:spChg>
        <pc:spChg chg="add mod ord">
          <ac:chgData name="Preskovvi .." userId="7c69300a0eb9d815" providerId="LiveId" clId="{31A119BB-21F2-4C39-BAF1-CD16B3F62403}" dt="2024-09-05T22:54:59.996" v="4797"/>
          <ac:spMkLst>
            <pc:docMk/>
            <pc:sldMk cId="571756205" sldId="259"/>
            <ac:spMk id="14" creationId="{5A24C191-AD4D-F568-D3DE-38DDD85B8B00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15" creationId="{476A39CD-5738-5819-0FC9-AA2A205AD73F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16" creationId="{C8827F43-9E75-E645-3B17-3F5DED7BC6E1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17" creationId="{AA79D12F-B808-EC8C-2498-B25C5AD547F1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18" creationId="{D4441765-7481-34EA-EB97-C4EF5760C814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19" creationId="{7ED6C147-D3D7-2DBC-91C4-261AF8D66131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21" creationId="{463E908B-9826-792F-5757-9E6A684D2B2C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22" creationId="{8D4C2874-84FD-640E-0461-6439BB3E2B46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23" creationId="{DBCAA365-58CD-2B9F-B225-BF192E1A65DE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25" creationId="{0B806912-B1E7-49BD-6AC2-C59DD7DD8150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27" creationId="{A3103571-6E20-0A7A-529F-CD6A8D741CB2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28" creationId="{FB08DF3E-1725-85AB-47BF-6E931379542E}"/>
          </ac:spMkLst>
        </pc:spChg>
        <pc:spChg chg="add mod ord">
          <ac:chgData name="Preskovvi .." userId="7c69300a0eb9d815" providerId="LiveId" clId="{31A119BB-21F2-4C39-BAF1-CD16B3F62403}" dt="2024-09-05T23:10:29.625" v="4887" actId="207"/>
          <ac:spMkLst>
            <pc:docMk/>
            <pc:sldMk cId="571756205" sldId="259"/>
            <ac:spMk id="29" creationId="{96FA116B-FFB0-25FC-FF69-4923312490FD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30" creationId="{98C65FB5-2E19-4BE3-AE52-4B9BFF386811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31" creationId="{3E003D7C-4524-E2DE-7707-A810160D6154}"/>
          </ac:spMkLst>
        </pc:spChg>
        <pc:spChg chg="del">
          <ac:chgData name="Preskovvi .." userId="7c69300a0eb9d815" providerId="LiveId" clId="{31A119BB-21F2-4C39-BAF1-CD16B3F62403}" dt="2024-09-05T22:09:30.187" v="493" actId="478"/>
          <ac:spMkLst>
            <pc:docMk/>
            <pc:sldMk cId="571756205" sldId="259"/>
            <ac:spMk id="37" creationId="{F2928BF3-1639-37A9-4889-F7AD2D719D79}"/>
          </ac:spMkLst>
        </pc:spChg>
        <pc:spChg chg="add mod ord">
          <ac:chgData name="Preskovvi .." userId="7c69300a0eb9d815" providerId="LiveId" clId="{31A119BB-21F2-4C39-BAF1-CD16B3F62403}" dt="2024-09-05T22:54:59.999" v="4801"/>
          <ac:spMkLst>
            <pc:docMk/>
            <pc:sldMk cId="571756205" sldId="259"/>
            <ac:spMk id="38" creationId="{8A7AFE12-4A83-BBA2-9070-37157C31E9BD}"/>
          </ac:spMkLst>
        </pc:spChg>
        <pc:spChg chg="add del mod">
          <ac:chgData name="Preskovvi .." userId="7c69300a0eb9d815" providerId="LiveId" clId="{31A119BB-21F2-4C39-BAF1-CD16B3F62403}" dt="2024-09-05T22:56:47.689" v="4835"/>
          <ac:spMkLst>
            <pc:docMk/>
            <pc:sldMk cId="571756205" sldId="259"/>
            <ac:spMk id="39" creationId="{A8475C40-C454-869D-20DB-3C44E3755CF4}"/>
          </ac:spMkLst>
        </pc:spChg>
        <pc:spChg chg="add del mod modVis">
          <ac:chgData name="Preskovvi .." userId="7c69300a0eb9d815" providerId="LiveId" clId="{31A119BB-21F2-4C39-BAF1-CD16B3F62403}" dt="2024-09-05T22:44:14.339" v="1171"/>
          <ac:spMkLst>
            <pc:docMk/>
            <pc:sldMk cId="571756205" sldId="259"/>
            <ac:spMk id="40" creationId="{0CAC0CC6-5627-017B-9B2E-E241011C2D96}"/>
          </ac:spMkLst>
        </pc:spChg>
        <pc:spChg chg="add del mod">
          <ac:chgData name="Preskovvi .." userId="7c69300a0eb9d815" providerId="LiveId" clId="{31A119BB-21F2-4C39-BAF1-CD16B3F62403}" dt="2024-09-05T22:44:44.389" v="1175"/>
          <ac:spMkLst>
            <pc:docMk/>
            <pc:sldMk cId="571756205" sldId="259"/>
            <ac:spMk id="41" creationId="{A8475C40-C454-869D-20DB-3C44E3755CF4}"/>
          </ac:spMkLst>
        </pc:spChg>
        <pc:spChg chg="add mod">
          <ac:chgData name="Preskovvi .." userId="7c69300a0eb9d815" providerId="LiveId" clId="{31A119BB-21F2-4C39-BAF1-CD16B3F62403}" dt="2024-09-05T22:55:00" v="4804"/>
          <ac:spMkLst>
            <pc:docMk/>
            <pc:sldMk cId="571756205" sldId="259"/>
            <ac:spMk id="42" creationId="{A8475C40-C454-869D-20DB-3C44E3755CF4}"/>
          </ac:spMkLst>
        </pc:spChg>
        <pc:spChg chg="add del mod">
          <ac:chgData name="Preskovvi .." userId="7c69300a0eb9d815" providerId="LiveId" clId="{31A119BB-21F2-4C39-BAF1-CD16B3F62403}" dt="2024-09-05T22:47:44.771" v="1304"/>
          <ac:spMkLst>
            <pc:docMk/>
            <pc:sldMk cId="571756205" sldId="259"/>
            <ac:spMk id="43" creationId="{A8475C40-C454-869D-20DB-3C44E3755CF4}"/>
          </ac:spMkLst>
        </pc:spChg>
        <pc:spChg chg="add del mod">
          <ac:chgData name="Preskovvi .." userId="7c69300a0eb9d815" providerId="LiveId" clId="{31A119BB-21F2-4C39-BAF1-CD16B3F62403}" dt="2024-09-05T22:47:44.773" v="1306"/>
          <ac:spMkLst>
            <pc:docMk/>
            <pc:sldMk cId="571756205" sldId="259"/>
            <ac:spMk id="44" creationId="{A8475C40-C454-869D-20DB-3C44E3755CF4}"/>
          </ac:spMkLst>
        </pc:spChg>
        <pc:spChg chg="add del mod ord">
          <ac:chgData name="Preskovvi .." userId="7c69300a0eb9d815" providerId="LiveId" clId="{31A119BB-21F2-4C39-BAF1-CD16B3F62403}" dt="2024-09-05T22:56:47.687" v="4834"/>
          <ac:spMkLst>
            <pc:docMk/>
            <pc:sldMk cId="571756205" sldId="259"/>
            <ac:spMk id="46" creationId="{D5CDEA29-55B3-D836-1818-1BC9C0C5C2AC}"/>
          </ac:spMkLst>
        </pc:spChg>
        <pc:spChg chg="add del mod">
          <ac:chgData name="Preskovvi .." userId="7c69300a0eb9d815" providerId="LiveId" clId="{31A119BB-21F2-4C39-BAF1-CD16B3F62403}" dt="2024-09-05T22:44:44.388" v="1174"/>
          <ac:spMkLst>
            <pc:docMk/>
            <pc:sldMk cId="571756205" sldId="259"/>
            <ac:spMk id="47" creationId="{1A742BF9-62E0-6705-6C4E-B7F8F5F3EBE6}"/>
          </ac:spMkLst>
        </pc:spChg>
        <pc:spChg chg="add del mod modVis">
          <ac:chgData name="Preskovvi .." userId="7c69300a0eb9d815" providerId="LiveId" clId="{31A119BB-21F2-4C39-BAF1-CD16B3F62403}" dt="2024-09-05T22:47:44.811" v="1344"/>
          <ac:spMkLst>
            <pc:docMk/>
            <pc:sldMk cId="571756205" sldId="259"/>
            <ac:spMk id="50" creationId="{7308EEF4-8CCD-689E-92A0-10C2811A4D2A}"/>
          </ac:spMkLst>
        </pc:spChg>
        <pc:spChg chg="add mod">
          <ac:chgData name="Preskovvi .." userId="7c69300a0eb9d815" providerId="LiveId" clId="{31A119BB-21F2-4C39-BAF1-CD16B3F62403}" dt="2024-09-05T22:55:00" v="4805"/>
          <ac:spMkLst>
            <pc:docMk/>
            <pc:sldMk cId="571756205" sldId="259"/>
            <ac:spMk id="52" creationId="{D6B2EF5F-1998-65BB-1AF5-5FBFE4AA9356}"/>
          </ac:spMkLst>
        </pc:spChg>
        <pc:spChg chg="add del mod modVis">
          <ac:chgData name="Preskovvi .." userId="7c69300a0eb9d815" providerId="LiveId" clId="{31A119BB-21F2-4C39-BAF1-CD16B3F62403}" dt="2024-09-05T22:47:46.343" v="1421"/>
          <ac:spMkLst>
            <pc:docMk/>
            <pc:sldMk cId="571756205" sldId="259"/>
            <ac:spMk id="53" creationId="{93856FFF-85AF-B9FA-1463-D6A129B8EEC6}"/>
          </ac:spMkLst>
        </pc:spChg>
        <pc:spChg chg="add mod">
          <ac:chgData name="Preskovvi .." userId="7c69300a0eb9d815" providerId="LiveId" clId="{31A119BB-21F2-4C39-BAF1-CD16B3F62403}" dt="2024-09-05T22:55:00.001" v="4806"/>
          <ac:spMkLst>
            <pc:docMk/>
            <pc:sldMk cId="571756205" sldId="259"/>
            <ac:spMk id="55" creationId="{1F003E31-3E2E-46F8-E74E-D4D94BDF924A}"/>
          </ac:spMkLst>
        </pc:spChg>
        <pc:spChg chg="add del mod modVis">
          <ac:chgData name="Preskovvi .." userId="7c69300a0eb9d815" providerId="LiveId" clId="{31A119BB-21F2-4C39-BAF1-CD16B3F62403}" dt="2024-09-05T22:47:55.639" v="1500"/>
          <ac:spMkLst>
            <pc:docMk/>
            <pc:sldMk cId="571756205" sldId="259"/>
            <ac:spMk id="56" creationId="{8C82D719-3A03-E363-8248-83EA41506F51}"/>
          </ac:spMkLst>
        </pc:spChg>
        <pc:spChg chg="add mod">
          <ac:chgData name="Preskovvi .." userId="7c69300a0eb9d815" providerId="LiveId" clId="{31A119BB-21F2-4C39-BAF1-CD16B3F62403}" dt="2024-09-05T22:55:00.001" v="4807"/>
          <ac:spMkLst>
            <pc:docMk/>
            <pc:sldMk cId="571756205" sldId="259"/>
            <ac:spMk id="58" creationId="{E0FA8873-2C3A-2E4D-C5CD-FAA36BF152FC}"/>
          </ac:spMkLst>
        </pc:spChg>
        <pc:spChg chg="add del mod modVis">
          <ac:chgData name="Preskovvi .." userId="7c69300a0eb9d815" providerId="LiveId" clId="{31A119BB-21F2-4C39-BAF1-CD16B3F62403}" dt="2024-09-05T22:48:01.123" v="1585"/>
          <ac:spMkLst>
            <pc:docMk/>
            <pc:sldMk cId="571756205" sldId="259"/>
            <ac:spMk id="59" creationId="{4E1ECA6D-9EF5-437F-D9FA-C216BDD2D1FC}"/>
          </ac:spMkLst>
        </pc:spChg>
        <pc:spChg chg="add mod">
          <ac:chgData name="Preskovvi .." userId="7c69300a0eb9d815" providerId="LiveId" clId="{31A119BB-21F2-4C39-BAF1-CD16B3F62403}" dt="2024-09-05T22:55:00.002" v="4808"/>
          <ac:spMkLst>
            <pc:docMk/>
            <pc:sldMk cId="571756205" sldId="259"/>
            <ac:spMk id="61" creationId="{F90FAE90-F367-0045-AC5E-8929B70CB590}"/>
          </ac:spMkLst>
        </pc:spChg>
        <pc:spChg chg="add del mod modVis">
          <ac:chgData name="Preskovvi .." userId="7c69300a0eb9d815" providerId="LiveId" clId="{31A119BB-21F2-4C39-BAF1-CD16B3F62403}" dt="2024-09-05T22:48:04.794" v="1674"/>
          <ac:spMkLst>
            <pc:docMk/>
            <pc:sldMk cId="571756205" sldId="259"/>
            <ac:spMk id="62" creationId="{633CE3DA-7801-D2E6-45DA-A837F056917C}"/>
          </ac:spMkLst>
        </pc:spChg>
        <pc:spChg chg="add del mod modVis">
          <ac:chgData name="Preskovvi .." userId="7c69300a0eb9d815" providerId="LiveId" clId="{31A119BB-21F2-4C39-BAF1-CD16B3F62403}" dt="2024-09-05T22:48:18.604" v="1859"/>
          <ac:spMkLst>
            <pc:docMk/>
            <pc:sldMk cId="571756205" sldId="259"/>
            <ac:spMk id="2048" creationId="{94A48DC1-E735-A0A7-20EC-613C3A744A14}"/>
          </ac:spMkLst>
        </pc:spChg>
        <pc:spChg chg="add del mod">
          <ac:chgData name="Preskovvi .." userId="7c69300a0eb9d815" providerId="LiveId" clId="{31A119BB-21F2-4C39-BAF1-CD16B3F62403}" dt="2024-09-05T22:48:27.825" v="1872"/>
          <ac:spMkLst>
            <pc:docMk/>
            <pc:sldMk cId="571756205" sldId="259"/>
            <ac:spMk id="2049" creationId="{A8475C40-C454-869D-20DB-3C44E3755CF4}"/>
          </ac:spMkLst>
        </pc:spChg>
        <pc:spChg chg="add del mod">
          <ac:chgData name="Preskovvi .." userId="7c69300a0eb9d815" providerId="LiveId" clId="{31A119BB-21F2-4C39-BAF1-CD16B3F62403}" dt="2024-09-05T22:48:49.316" v="2000"/>
          <ac:spMkLst>
            <pc:docMk/>
            <pc:sldMk cId="571756205" sldId="259"/>
            <ac:spMk id="2051" creationId="{A8475C40-C454-869D-20DB-3C44E3755CF4}"/>
          </ac:spMkLst>
        </pc:spChg>
        <pc:spChg chg="add del mod modVis">
          <ac:chgData name="Preskovvi .." userId="7c69300a0eb9d815" providerId="LiveId" clId="{31A119BB-21F2-4C39-BAF1-CD16B3F62403}" dt="2024-09-05T22:48:36.216" v="1987"/>
          <ac:spMkLst>
            <pc:docMk/>
            <pc:sldMk cId="571756205" sldId="259"/>
            <ac:spMk id="2055" creationId="{D8DF7714-3F9C-906C-03D7-249619EE1E77}"/>
          </ac:spMkLst>
        </pc:spChg>
        <pc:spChg chg="add del mod modVis">
          <ac:chgData name="Preskovvi .." userId="7c69300a0eb9d815" providerId="LiveId" clId="{31A119BB-21F2-4C39-BAF1-CD16B3F62403}" dt="2024-09-05T22:48:56.645" v="2111"/>
          <ac:spMkLst>
            <pc:docMk/>
            <pc:sldMk cId="571756205" sldId="259"/>
            <ac:spMk id="2061" creationId="{247A3177-1784-FF09-E212-36AA82F2126B}"/>
          </ac:spMkLst>
        </pc:spChg>
        <pc:spChg chg="add del mod modVis">
          <ac:chgData name="Preskovvi .." userId="7c69300a0eb9d815" providerId="LiveId" clId="{31A119BB-21F2-4C39-BAF1-CD16B3F62403}" dt="2024-09-05T22:49:13.347" v="2224"/>
          <ac:spMkLst>
            <pc:docMk/>
            <pc:sldMk cId="571756205" sldId="259"/>
            <ac:spMk id="2065" creationId="{4D43BB44-68C2-AA1D-E9D5-31E2F0CEA9EF}"/>
          </ac:spMkLst>
        </pc:spChg>
        <pc:spChg chg="add del mod modVis">
          <ac:chgData name="Preskovvi .." userId="7c69300a0eb9d815" providerId="LiveId" clId="{31A119BB-21F2-4C39-BAF1-CD16B3F62403}" dt="2024-09-05T22:49:26.010" v="2303"/>
          <ac:spMkLst>
            <pc:docMk/>
            <pc:sldMk cId="571756205" sldId="259"/>
            <ac:spMk id="2067" creationId="{8ED179B3-7B44-959E-4E72-596556C0BF73}"/>
          </ac:spMkLst>
        </pc:spChg>
        <pc:spChg chg="add del mod modVis">
          <ac:chgData name="Preskovvi .." userId="7c69300a0eb9d815" providerId="LiveId" clId="{31A119BB-21F2-4C39-BAF1-CD16B3F62403}" dt="2024-09-05T22:49:44.559" v="2416"/>
          <ac:spMkLst>
            <pc:docMk/>
            <pc:sldMk cId="571756205" sldId="259"/>
            <ac:spMk id="2070" creationId="{5056BC6C-DB17-D391-A1B9-11BE207DAD8E}"/>
          </ac:spMkLst>
        </pc:spChg>
        <pc:spChg chg="add del mod modVis">
          <ac:chgData name="Preskovvi .." userId="7c69300a0eb9d815" providerId="LiveId" clId="{31A119BB-21F2-4C39-BAF1-CD16B3F62403}" dt="2024-09-05T22:49:58.271" v="2495"/>
          <ac:spMkLst>
            <pc:docMk/>
            <pc:sldMk cId="571756205" sldId="259"/>
            <ac:spMk id="2072" creationId="{22236CDE-A015-3B9B-7DBC-E80000D16A61}"/>
          </ac:spMkLst>
        </pc:spChg>
        <pc:spChg chg="add mod">
          <ac:chgData name="Preskovvi .." userId="7c69300a0eb9d815" providerId="LiveId" clId="{31A119BB-21F2-4C39-BAF1-CD16B3F62403}" dt="2024-09-05T22:55:00.002" v="4809"/>
          <ac:spMkLst>
            <pc:docMk/>
            <pc:sldMk cId="571756205" sldId="259"/>
            <ac:spMk id="2075" creationId="{A8475C40-C454-869D-20DB-3C44E3755CF4}"/>
          </ac:spMkLst>
        </pc:spChg>
        <pc:spChg chg="add del mod modVis">
          <ac:chgData name="Preskovvi .." userId="7c69300a0eb9d815" providerId="LiveId" clId="{31A119BB-21F2-4C39-BAF1-CD16B3F62403}" dt="2024-09-05T22:50:16.416" v="2663"/>
          <ac:spMkLst>
            <pc:docMk/>
            <pc:sldMk cId="571756205" sldId="259"/>
            <ac:spMk id="2076" creationId="{9FD21BE6-1A93-FBDF-148D-C585121EF8F3}"/>
          </ac:spMkLst>
        </pc:spChg>
        <pc:spChg chg="add del mod modVis">
          <ac:chgData name="Preskovvi .." userId="7c69300a0eb9d815" providerId="LiveId" clId="{31A119BB-21F2-4C39-BAF1-CD16B3F62403}" dt="2024-09-05T22:50:23.328" v="3011"/>
          <ac:spMkLst>
            <pc:docMk/>
            <pc:sldMk cId="571756205" sldId="259"/>
            <ac:spMk id="2078" creationId="{0061A039-AFA3-8BF1-FE04-09E45E927589}"/>
          </ac:spMkLst>
        </pc:spChg>
        <pc:spChg chg="add mod">
          <ac:chgData name="Preskovvi .." userId="7c69300a0eb9d815" providerId="LiveId" clId="{31A119BB-21F2-4C39-BAF1-CD16B3F62403}" dt="2024-09-05T22:55:00.002" v="4810"/>
          <ac:spMkLst>
            <pc:docMk/>
            <pc:sldMk cId="571756205" sldId="259"/>
            <ac:spMk id="2079" creationId="{A8475C40-C454-869D-20DB-3C44E3755CF4}"/>
          </ac:spMkLst>
        </pc:spChg>
        <pc:spChg chg="add mod ord">
          <ac:chgData name="Preskovvi .." userId="7c69300a0eb9d815" providerId="LiveId" clId="{31A119BB-21F2-4C39-BAF1-CD16B3F62403}" dt="2024-09-05T22:55:00.002" v="4811"/>
          <ac:spMkLst>
            <pc:docMk/>
            <pc:sldMk cId="571756205" sldId="259"/>
            <ac:spMk id="2080" creationId="{A8475C40-C454-869D-20DB-3C44E3755CF4}"/>
          </ac:spMkLst>
        </pc:spChg>
        <pc:spChg chg="add mod">
          <ac:chgData name="Preskovvi .." userId="7c69300a0eb9d815" providerId="LiveId" clId="{31A119BB-21F2-4C39-BAF1-CD16B3F62403}" dt="2024-09-05T22:55:00.003" v="4812"/>
          <ac:spMkLst>
            <pc:docMk/>
            <pc:sldMk cId="571756205" sldId="259"/>
            <ac:spMk id="2081" creationId="{A8475C40-C454-869D-20DB-3C44E3755CF4}"/>
          </ac:spMkLst>
        </pc:spChg>
        <pc:spChg chg="add mod">
          <ac:chgData name="Preskovvi .." userId="7c69300a0eb9d815" providerId="LiveId" clId="{31A119BB-21F2-4C39-BAF1-CD16B3F62403}" dt="2024-09-05T22:55:00.004" v="4813"/>
          <ac:spMkLst>
            <pc:docMk/>
            <pc:sldMk cId="571756205" sldId="259"/>
            <ac:spMk id="2082" creationId="{A8475C40-C454-869D-20DB-3C44E3755CF4}"/>
          </ac:spMkLst>
        </pc:spChg>
        <pc:spChg chg="add del mod modVis">
          <ac:chgData name="Preskovvi .." userId="7c69300a0eb9d815" providerId="LiveId" clId="{31A119BB-21F2-4C39-BAF1-CD16B3F62403}" dt="2024-09-05T22:50:50.897" v="3277"/>
          <ac:spMkLst>
            <pc:docMk/>
            <pc:sldMk cId="571756205" sldId="259"/>
            <ac:spMk id="2087" creationId="{7E4D6947-BF1B-DE28-7E0A-C167E76131EF}"/>
          </ac:spMkLst>
        </pc:spChg>
        <pc:spChg chg="add del mod modVis">
          <ac:chgData name="Preskovvi .." userId="7c69300a0eb9d815" providerId="LiveId" clId="{31A119BB-21F2-4C39-BAF1-CD16B3F62403}" dt="2024-09-05T22:50:54.973" v="3422"/>
          <ac:spMkLst>
            <pc:docMk/>
            <pc:sldMk cId="571756205" sldId="259"/>
            <ac:spMk id="2089" creationId="{EF7AEB2C-A526-B742-3732-5485FB074794}"/>
          </ac:spMkLst>
        </pc:spChg>
        <pc:spChg chg="add del mod modVis">
          <ac:chgData name="Preskovvi .." userId="7c69300a0eb9d815" providerId="LiveId" clId="{31A119BB-21F2-4C39-BAF1-CD16B3F62403}" dt="2024-09-05T22:51:04.291" v="3559"/>
          <ac:spMkLst>
            <pc:docMk/>
            <pc:sldMk cId="571756205" sldId="259"/>
            <ac:spMk id="2091" creationId="{13EFE2E4-48B7-5759-A1DF-C8838531A6A5}"/>
          </ac:spMkLst>
        </pc:spChg>
        <pc:graphicFrameChg chg="mod">
          <ac:chgData name="Preskovvi .." userId="7c69300a0eb9d815" providerId="LiveId" clId="{31A119BB-21F2-4C39-BAF1-CD16B3F62403}" dt="2024-09-05T22:56:47.708" v="4837"/>
          <ac:graphicFrameMkLst>
            <pc:docMk/>
            <pc:sldMk cId="571756205" sldId="259"/>
            <ac:graphicFrameMk id="4" creationId="{88EA9C2E-0A49-8BF2-DC81-AB857322CE89}"/>
          </ac:graphicFrameMkLst>
        </pc:graphicFrameChg>
        <pc:graphicFrameChg chg="add del mod">
          <ac:chgData name="Preskovvi .." userId="7c69300a0eb9d815" providerId="LiveId" clId="{31A119BB-21F2-4C39-BAF1-CD16B3F62403}" dt="2024-09-05T22:19:49.612" v="530" actId="478"/>
          <ac:graphicFrameMkLst>
            <pc:docMk/>
            <pc:sldMk cId="571756205" sldId="259"/>
            <ac:graphicFrameMk id="9" creationId="{36E53635-8DBC-1394-6ED2-6246B0ADB6C3}"/>
          </ac:graphicFrameMkLst>
        </pc:graphicFrameChg>
        <pc:graphicFrameChg chg="add del mod ord">
          <ac:chgData name="Preskovvi .." userId="7c69300a0eb9d815" providerId="LiveId" clId="{31A119BB-21F2-4C39-BAF1-CD16B3F62403}" dt="2024-09-05T22:44:44.406" v="1187"/>
          <ac:graphicFrameMkLst>
            <pc:docMk/>
            <pc:sldMk cId="571756205" sldId="259"/>
            <ac:graphicFrameMk id="45" creationId="{55DBD357-9985-1D1B-A869-C53AD8BE5BFB}"/>
          </ac:graphicFrameMkLst>
        </pc:graphicFrameChg>
        <pc:graphicFrameChg chg="add del mod ord">
          <ac:chgData name="Preskovvi .." userId="7c69300a0eb9d815" providerId="LiveId" clId="{31A119BB-21F2-4C39-BAF1-CD16B3F62403}" dt="2024-09-05T22:47:25.856" v="1233"/>
          <ac:graphicFrameMkLst>
            <pc:docMk/>
            <pc:sldMk cId="571756205" sldId="259"/>
            <ac:graphicFrameMk id="48" creationId="{86C3918B-C4BE-66C4-6E04-507A1FEE3542}"/>
          </ac:graphicFrameMkLst>
        </pc:graphicFrameChg>
        <pc:graphicFrameChg chg="add del mod ord">
          <ac:chgData name="Preskovvi .." userId="7c69300a0eb9d815" providerId="LiveId" clId="{31A119BB-21F2-4C39-BAF1-CD16B3F62403}" dt="2024-09-05T22:47:44.777" v="1310"/>
          <ac:graphicFrameMkLst>
            <pc:docMk/>
            <pc:sldMk cId="571756205" sldId="259"/>
            <ac:graphicFrameMk id="49" creationId="{F0B2DF28-A841-315F-2347-9B91AE4E5A95}"/>
          </ac:graphicFrameMkLst>
        </pc:graphicFrameChg>
        <pc:graphicFrameChg chg="add del mod ord">
          <ac:chgData name="Preskovvi .." userId="7c69300a0eb9d815" providerId="LiveId" clId="{31A119BB-21F2-4C39-BAF1-CD16B3F62403}" dt="2024-09-05T22:47:46.312" v="1386"/>
          <ac:graphicFrameMkLst>
            <pc:docMk/>
            <pc:sldMk cId="571756205" sldId="259"/>
            <ac:graphicFrameMk id="51" creationId="{2144224A-6073-0F2D-6756-345C1E07D3DA}"/>
          </ac:graphicFrameMkLst>
        </pc:graphicFrameChg>
        <pc:graphicFrameChg chg="add del mod ord">
          <ac:chgData name="Preskovvi .." userId="7c69300a0eb9d815" providerId="LiveId" clId="{31A119BB-21F2-4C39-BAF1-CD16B3F62403}" dt="2024-09-05T22:47:55.609" v="1464"/>
          <ac:graphicFrameMkLst>
            <pc:docMk/>
            <pc:sldMk cId="571756205" sldId="259"/>
            <ac:graphicFrameMk id="54" creationId="{E6A34858-C872-56C0-847C-C8F07EC3EAB3}"/>
          </ac:graphicFrameMkLst>
        </pc:graphicFrameChg>
        <pc:graphicFrameChg chg="add del mod ord">
          <ac:chgData name="Preskovvi .." userId="7c69300a0eb9d815" providerId="LiveId" clId="{31A119BB-21F2-4C39-BAF1-CD16B3F62403}" dt="2024-09-05T22:48:01.090" v="1544"/>
          <ac:graphicFrameMkLst>
            <pc:docMk/>
            <pc:sldMk cId="571756205" sldId="259"/>
            <ac:graphicFrameMk id="57" creationId="{6CCA89E0-2D5F-CC94-C0A5-A5C29A98F028}"/>
          </ac:graphicFrameMkLst>
        </pc:graphicFrameChg>
        <pc:graphicFrameChg chg="add del mod ord">
          <ac:chgData name="Preskovvi .." userId="7c69300a0eb9d815" providerId="LiveId" clId="{31A119BB-21F2-4C39-BAF1-CD16B3F62403}" dt="2024-09-05T22:48:04.761" v="1632"/>
          <ac:graphicFrameMkLst>
            <pc:docMk/>
            <pc:sldMk cId="571756205" sldId="259"/>
            <ac:graphicFrameMk id="60" creationId="{2A4DF707-3FCD-0AB9-A132-03EFA84D3F2A}"/>
          </ac:graphicFrameMkLst>
        </pc:graphicFrameChg>
        <pc:graphicFrameChg chg="add del mod ord">
          <ac:chgData name="Preskovvi .." userId="7c69300a0eb9d815" providerId="LiveId" clId="{31A119BB-21F2-4C39-BAF1-CD16B3F62403}" dt="2024-09-05T22:48:18.571" v="1819"/>
          <ac:graphicFrameMkLst>
            <pc:docMk/>
            <pc:sldMk cId="571756205" sldId="259"/>
            <ac:graphicFrameMk id="63" creationId="{79902817-17E6-699B-34CC-A3575415E5EF}"/>
          </ac:graphicFrameMkLst>
        </pc:graphicFrameChg>
        <pc:graphicFrameChg chg="add del mod ord">
          <ac:chgData name="Preskovvi .." userId="7c69300a0eb9d815" providerId="LiveId" clId="{31A119BB-21F2-4C39-BAF1-CD16B3F62403}" dt="2024-09-05T22:48:27.838" v="1881"/>
          <ac:graphicFrameMkLst>
            <pc:docMk/>
            <pc:sldMk cId="571756205" sldId="259"/>
            <ac:graphicFrameMk id="2052" creationId="{5F6961F6-3B96-3660-866E-0D6254E7E727}"/>
          </ac:graphicFrameMkLst>
        </pc:graphicFrameChg>
        <pc:graphicFrameChg chg="add del mod ord">
          <ac:chgData name="Preskovvi .." userId="7c69300a0eb9d815" providerId="LiveId" clId="{31A119BB-21F2-4C39-BAF1-CD16B3F62403}" dt="2024-09-05T22:48:36.179" v="1948"/>
          <ac:graphicFrameMkLst>
            <pc:docMk/>
            <pc:sldMk cId="571756205" sldId="259"/>
            <ac:graphicFrameMk id="2053" creationId="{968D131B-30BE-ADE0-46AB-1D77AE1F0860}"/>
          </ac:graphicFrameMkLst>
        </pc:graphicFrameChg>
        <pc:graphicFrameChg chg="add del mod ord">
          <ac:chgData name="Preskovvi .." userId="7c69300a0eb9d815" providerId="LiveId" clId="{31A119BB-21F2-4C39-BAF1-CD16B3F62403}" dt="2024-09-05T22:48:49.328" v="2008"/>
          <ac:graphicFrameMkLst>
            <pc:docMk/>
            <pc:sldMk cId="571756205" sldId="259"/>
            <ac:graphicFrameMk id="2057" creationId="{3495EBA3-5F0B-02D6-B434-3CF9758E7F27}"/>
          </ac:graphicFrameMkLst>
        </pc:graphicFrameChg>
        <pc:graphicFrameChg chg="add del mod ord">
          <ac:chgData name="Preskovvi .." userId="7c69300a0eb9d815" providerId="LiveId" clId="{31A119BB-21F2-4C39-BAF1-CD16B3F62403}" dt="2024-09-05T22:48:56.590" v="2073"/>
          <ac:graphicFrameMkLst>
            <pc:docMk/>
            <pc:sldMk cId="571756205" sldId="259"/>
            <ac:graphicFrameMk id="2059" creationId="{059EC911-5AE6-D4F3-3EC5-52B438D2B334}"/>
          </ac:graphicFrameMkLst>
        </pc:graphicFrameChg>
        <pc:graphicFrameChg chg="add del mod ord">
          <ac:chgData name="Preskovvi .." userId="7c69300a0eb9d815" providerId="LiveId" clId="{31A119BB-21F2-4C39-BAF1-CD16B3F62403}" dt="2024-09-05T22:49:06.469" v="2121"/>
          <ac:graphicFrameMkLst>
            <pc:docMk/>
            <pc:sldMk cId="571756205" sldId="259"/>
            <ac:graphicFrameMk id="2063" creationId="{DA5E1B77-A743-F835-B9C0-9A9E232F4EC8}"/>
          </ac:graphicFrameMkLst>
        </pc:graphicFrameChg>
        <pc:graphicFrameChg chg="add del mod ord">
          <ac:chgData name="Preskovvi .." userId="7c69300a0eb9d815" providerId="LiveId" clId="{31A119BB-21F2-4C39-BAF1-CD16B3F62403}" dt="2024-09-05T22:49:13.314" v="2186"/>
          <ac:graphicFrameMkLst>
            <pc:docMk/>
            <pc:sldMk cId="571756205" sldId="259"/>
            <ac:graphicFrameMk id="2064" creationId="{83F2190B-6D37-9796-5164-B62834B05463}"/>
          </ac:graphicFrameMkLst>
        </pc:graphicFrameChg>
        <pc:graphicFrameChg chg="add del mod ord">
          <ac:chgData name="Preskovvi .." userId="7c69300a0eb9d815" providerId="LiveId" clId="{31A119BB-21F2-4C39-BAF1-CD16B3F62403}" dt="2024-09-05T22:49:25.976" v="2265"/>
          <ac:graphicFrameMkLst>
            <pc:docMk/>
            <pc:sldMk cId="571756205" sldId="259"/>
            <ac:graphicFrameMk id="2066" creationId="{5A907B89-6584-850E-2CFC-6BAF1E82FEE0}"/>
          </ac:graphicFrameMkLst>
        </pc:graphicFrameChg>
        <pc:graphicFrameChg chg="add del mod ord">
          <ac:chgData name="Preskovvi .." userId="7c69300a0eb9d815" providerId="LiveId" clId="{31A119BB-21F2-4C39-BAF1-CD16B3F62403}" dt="2024-09-05T22:49:35.909" v="2313"/>
          <ac:graphicFrameMkLst>
            <pc:docMk/>
            <pc:sldMk cId="571756205" sldId="259"/>
            <ac:graphicFrameMk id="2068" creationId="{7D8D1362-3A39-1796-6544-61468A7C3323}"/>
          </ac:graphicFrameMkLst>
        </pc:graphicFrameChg>
        <pc:graphicFrameChg chg="add del mod ord">
          <ac:chgData name="Preskovvi .." userId="7c69300a0eb9d815" providerId="LiveId" clId="{31A119BB-21F2-4C39-BAF1-CD16B3F62403}" dt="2024-09-05T22:49:44.525" v="2378"/>
          <ac:graphicFrameMkLst>
            <pc:docMk/>
            <pc:sldMk cId="571756205" sldId="259"/>
            <ac:graphicFrameMk id="2069" creationId="{1B6C0DA0-E72A-5970-D940-8F95BD7FB838}"/>
          </ac:graphicFrameMkLst>
        </pc:graphicFrameChg>
        <pc:graphicFrameChg chg="add del mod ord">
          <ac:chgData name="Preskovvi .." userId="7c69300a0eb9d815" providerId="LiveId" clId="{31A119BB-21F2-4C39-BAF1-CD16B3F62403}" dt="2024-09-05T22:49:58.231" v="2455"/>
          <ac:graphicFrameMkLst>
            <pc:docMk/>
            <pc:sldMk cId="571756205" sldId="259"/>
            <ac:graphicFrameMk id="2071" creationId="{584C06C8-EE36-4136-6CC9-2E3522772806}"/>
          </ac:graphicFrameMkLst>
        </pc:graphicFrameChg>
        <pc:graphicFrameChg chg="add del mod ord">
          <ac:chgData name="Preskovvi .." userId="7c69300a0eb9d815" providerId="LiveId" clId="{31A119BB-21F2-4C39-BAF1-CD16B3F62403}" dt="2024-09-05T22:50:05.851" v="2505"/>
          <ac:graphicFrameMkLst>
            <pc:docMk/>
            <pc:sldMk cId="571756205" sldId="259"/>
            <ac:graphicFrameMk id="2073" creationId="{F87B4988-E602-29A1-A356-AB96E565912B}"/>
          </ac:graphicFrameMkLst>
        </pc:graphicFrameChg>
        <pc:graphicFrameChg chg="add del mod ord">
          <ac:chgData name="Preskovvi .." userId="7c69300a0eb9d815" providerId="LiveId" clId="{31A119BB-21F2-4C39-BAF1-CD16B3F62403}" dt="2024-09-05T22:50:16.378" v="2624"/>
          <ac:graphicFrameMkLst>
            <pc:docMk/>
            <pc:sldMk cId="571756205" sldId="259"/>
            <ac:graphicFrameMk id="2074" creationId="{69D6BC65-2DD2-8981-00D9-6D708E3F0319}"/>
          </ac:graphicFrameMkLst>
        </pc:graphicFrameChg>
        <pc:graphicFrameChg chg="add del mod ord">
          <ac:chgData name="Preskovvi .." userId="7c69300a0eb9d815" providerId="LiveId" clId="{31A119BB-21F2-4C39-BAF1-CD16B3F62403}" dt="2024-09-05T22:50:23.290" v="2965"/>
          <ac:graphicFrameMkLst>
            <pc:docMk/>
            <pc:sldMk cId="571756205" sldId="259"/>
            <ac:graphicFrameMk id="2077" creationId="{4F10C796-541D-D236-E413-C4E4C236B979}"/>
          </ac:graphicFrameMkLst>
        </pc:graphicFrameChg>
        <pc:graphicFrameChg chg="add del mod ord">
          <ac:chgData name="Preskovvi .." userId="7c69300a0eb9d815" providerId="LiveId" clId="{31A119BB-21F2-4C39-BAF1-CD16B3F62403}" dt="2024-09-05T22:50:40.407" v="3026"/>
          <ac:graphicFrameMkLst>
            <pc:docMk/>
            <pc:sldMk cId="571756205" sldId="259"/>
            <ac:graphicFrameMk id="2084" creationId="{C76EBA02-AB4A-653D-CF82-4417C5BF810D}"/>
          </ac:graphicFrameMkLst>
        </pc:graphicFrameChg>
        <pc:graphicFrameChg chg="add del mod ord">
          <ac:chgData name="Preskovvi .." userId="7c69300a0eb9d815" providerId="LiveId" clId="{31A119BB-21F2-4C39-BAF1-CD16B3F62403}" dt="2024-09-05T22:50:43.390" v="3085"/>
          <ac:graphicFrameMkLst>
            <pc:docMk/>
            <pc:sldMk cId="571756205" sldId="259"/>
            <ac:graphicFrameMk id="2085" creationId="{0750F107-2689-45F7-D6CC-6B1E32142B53}"/>
          </ac:graphicFrameMkLst>
        </pc:graphicFrameChg>
        <pc:graphicFrameChg chg="add del mod ord">
          <ac:chgData name="Preskovvi .." userId="7c69300a0eb9d815" providerId="LiveId" clId="{31A119BB-21F2-4C39-BAF1-CD16B3F62403}" dt="2024-09-05T22:50:50.862" v="3234"/>
          <ac:graphicFrameMkLst>
            <pc:docMk/>
            <pc:sldMk cId="571756205" sldId="259"/>
            <ac:graphicFrameMk id="2086" creationId="{58E0318A-0A70-5AD6-5E75-2C8AF2304F41}"/>
          </ac:graphicFrameMkLst>
        </pc:graphicFrameChg>
        <pc:graphicFrameChg chg="add del mod ord">
          <ac:chgData name="Preskovvi .." userId="7c69300a0eb9d815" providerId="LiveId" clId="{31A119BB-21F2-4C39-BAF1-CD16B3F62403}" dt="2024-09-05T22:50:54.941" v="3379"/>
          <ac:graphicFrameMkLst>
            <pc:docMk/>
            <pc:sldMk cId="571756205" sldId="259"/>
            <ac:graphicFrameMk id="2088" creationId="{6E588534-B8CB-1945-A969-65D918189A0E}"/>
          </ac:graphicFrameMkLst>
        </pc:graphicFrameChg>
        <pc:graphicFrameChg chg="add del mod ord">
          <ac:chgData name="Preskovvi .." userId="7c69300a0eb9d815" providerId="LiveId" clId="{31A119BB-21F2-4C39-BAF1-CD16B3F62403}" dt="2024-09-05T22:51:04.258" v="3516"/>
          <ac:graphicFrameMkLst>
            <pc:docMk/>
            <pc:sldMk cId="571756205" sldId="259"/>
            <ac:graphicFrameMk id="2090" creationId="{1180836D-A86A-2F9B-68D2-D0A65F554C18}"/>
          </ac:graphicFrameMkLst>
        </pc:graphicFrameChg>
        <pc:graphicFrameChg chg="add del mod ord">
          <ac:chgData name="Preskovvi .." userId="7c69300a0eb9d815" providerId="LiveId" clId="{31A119BB-21F2-4C39-BAF1-CD16B3F62403}" dt="2024-09-05T22:51:21.028" v="3574"/>
          <ac:graphicFrameMkLst>
            <pc:docMk/>
            <pc:sldMk cId="571756205" sldId="259"/>
            <ac:graphicFrameMk id="2092" creationId="{3340C420-39F4-C1D8-787E-558F9DE9ABAD}"/>
          </ac:graphicFrameMkLst>
        </pc:graphicFrameChg>
        <pc:graphicFrameChg chg="add del mod ord">
          <ac:chgData name="Preskovvi .." userId="7c69300a0eb9d815" providerId="LiveId" clId="{31A119BB-21F2-4C39-BAF1-CD16B3F62403}" dt="2024-09-05T22:51:27.405" v="3640"/>
          <ac:graphicFrameMkLst>
            <pc:docMk/>
            <pc:sldMk cId="571756205" sldId="259"/>
            <ac:graphicFrameMk id="2093" creationId="{E6D2522C-60D4-A1CB-F713-10B23A0EAC94}"/>
          </ac:graphicFrameMkLst>
        </pc:graphicFrameChg>
        <pc:graphicFrameChg chg="add del mod ord">
          <ac:chgData name="Preskovvi .." userId="7c69300a0eb9d815" providerId="LiveId" clId="{31A119BB-21F2-4C39-BAF1-CD16B3F62403}" dt="2024-09-05T22:51:30.915" v="3716"/>
          <ac:graphicFrameMkLst>
            <pc:docMk/>
            <pc:sldMk cId="571756205" sldId="259"/>
            <ac:graphicFrameMk id="2094" creationId="{66B7EC16-1023-9766-D68E-F2CAC4A27083}"/>
          </ac:graphicFrameMkLst>
        </pc:graphicFrameChg>
        <pc:graphicFrameChg chg="add del mod ord">
          <ac:chgData name="Preskovvi .." userId="7c69300a0eb9d815" providerId="LiveId" clId="{31A119BB-21F2-4C39-BAF1-CD16B3F62403}" dt="2024-09-05T22:51:34.093" v="3790"/>
          <ac:graphicFrameMkLst>
            <pc:docMk/>
            <pc:sldMk cId="571756205" sldId="259"/>
            <ac:graphicFrameMk id="2095" creationId="{198EF13C-B52B-9BA5-5B26-CBB30A2DE0B2}"/>
          </ac:graphicFrameMkLst>
        </pc:graphicFrameChg>
        <pc:graphicFrameChg chg="add del mod ord">
          <ac:chgData name="Preskovvi .." userId="7c69300a0eb9d815" providerId="LiveId" clId="{31A119BB-21F2-4C39-BAF1-CD16B3F62403}" dt="2024-09-05T22:51:35.826" v="3856"/>
          <ac:graphicFrameMkLst>
            <pc:docMk/>
            <pc:sldMk cId="571756205" sldId="259"/>
            <ac:graphicFrameMk id="2096" creationId="{B0E71126-E300-2300-CA55-657E85B3648F}"/>
          </ac:graphicFrameMkLst>
        </pc:graphicFrameChg>
        <pc:graphicFrameChg chg="add del mod ord">
          <ac:chgData name="Preskovvi .." userId="7c69300a0eb9d815" providerId="LiveId" clId="{31A119BB-21F2-4C39-BAF1-CD16B3F62403}" dt="2024-09-05T22:51:45.419" v="3932"/>
          <ac:graphicFrameMkLst>
            <pc:docMk/>
            <pc:sldMk cId="571756205" sldId="259"/>
            <ac:graphicFrameMk id="2097" creationId="{0405548A-F2CB-2223-C04C-83908EAB077E}"/>
          </ac:graphicFrameMkLst>
        </pc:graphicFrameChg>
        <pc:graphicFrameChg chg="add del mod ord">
          <ac:chgData name="Preskovvi .." userId="7c69300a0eb9d815" providerId="LiveId" clId="{31A119BB-21F2-4C39-BAF1-CD16B3F62403}" dt="2024-09-05T22:51:49.680" v="4006"/>
          <ac:graphicFrameMkLst>
            <pc:docMk/>
            <pc:sldMk cId="571756205" sldId="259"/>
            <ac:graphicFrameMk id="2098" creationId="{623D2B4F-E13B-C96C-BA7C-C3BC0CB05199}"/>
          </ac:graphicFrameMkLst>
        </pc:graphicFrameChg>
        <pc:graphicFrameChg chg="add del mod ord">
          <ac:chgData name="Preskovvi .." userId="7c69300a0eb9d815" providerId="LiveId" clId="{31A119BB-21F2-4C39-BAF1-CD16B3F62403}" dt="2024-09-05T22:52:19.231" v="4088"/>
          <ac:graphicFrameMkLst>
            <pc:docMk/>
            <pc:sldMk cId="571756205" sldId="259"/>
            <ac:graphicFrameMk id="2099" creationId="{99A05E0D-D3D5-872D-F277-63D3C4713F49}"/>
          </ac:graphicFrameMkLst>
        </pc:graphicFrameChg>
        <pc:graphicFrameChg chg="add del mod ord">
          <ac:chgData name="Preskovvi .." userId="7c69300a0eb9d815" providerId="LiveId" clId="{31A119BB-21F2-4C39-BAF1-CD16B3F62403}" dt="2024-09-05T22:52:41.466" v="4175"/>
          <ac:graphicFrameMkLst>
            <pc:docMk/>
            <pc:sldMk cId="571756205" sldId="259"/>
            <ac:graphicFrameMk id="2100" creationId="{CA7A9C14-CE5B-F918-200F-DF6A76C75EC5}"/>
          </ac:graphicFrameMkLst>
        </pc:graphicFrameChg>
        <pc:graphicFrameChg chg="add del mod ord">
          <ac:chgData name="Preskovvi .." userId="7c69300a0eb9d815" providerId="LiveId" clId="{31A119BB-21F2-4C39-BAF1-CD16B3F62403}" dt="2024-09-05T22:52:45.226" v="4251"/>
          <ac:graphicFrameMkLst>
            <pc:docMk/>
            <pc:sldMk cId="571756205" sldId="259"/>
            <ac:graphicFrameMk id="2101" creationId="{E1D810EF-E7A9-FCE7-F516-B4FB0D8C80CD}"/>
          </ac:graphicFrameMkLst>
        </pc:graphicFrameChg>
        <pc:graphicFrameChg chg="add del mod ord">
          <ac:chgData name="Preskovvi .." userId="7c69300a0eb9d815" providerId="LiveId" clId="{31A119BB-21F2-4C39-BAF1-CD16B3F62403}" dt="2024-09-05T22:52:49.085" v="4317"/>
          <ac:graphicFrameMkLst>
            <pc:docMk/>
            <pc:sldMk cId="571756205" sldId="259"/>
            <ac:graphicFrameMk id="2102" creationId="{0FE29505-E3A9-C4CF-762B-8DBAE4654968}"/>
          </ac:graphicFrameMkLst>
        </pc:graphicFrameChg>
        <pc:graphicFrameChg chg="add del mod ord">
          <ac:chgData name="Preskovvi .." userId="7c69300a0eb9d815" providerId="LiveId" clId="{31A119BB-21F2-4C39-BAF1-CD16B3F62403}" dt="2024-09-05T22:52:51.761" v="4383"/>
          <ac:graphicFrameMkLst>
            <pc:docMk/>
            <pc:sldMk cId="571756205" sldId="259"/>
            <ac:graphicFrameMk id="2103" creationId="{624DEA24-A8C8-284C-152B-E1297A22A99E}"/>
          </ac:graphicFrameMkLst>
        </pc:graphicFrameChg>
        <pc:graphicFrameChg chg="add del mod ord">
          <ac:chgData name="Preskovvi .." userId="7c69300a0eb9d815" providerId="LiveId" clId="{31A119BB-21F2-4C39-BAF1-CD16B3F62403}" dt="2024-09-05T22:52:54.918" v="4449"/>
          <ac:graphicFrameMkLst>
            <pc:docMk/>
            <pc:sldMk cId="571756205" sldId="259"/>
            <ac:graphicFrameMk id="2104" creationId="{C7843F25-1A89-4A05-9F7A-169D3FA308AE}"/>
          </ac:graphicFrameMkLst>
        </pc:graphicFrameChg>
        <pc:graphicFrameChg chg="add del mod ord">
          <ac:chgData name="Preskovvi .." userId="7c69300a0eb9d815" providerId="LiveId" clId="{31A119BB-21F2-4C39-BAF1-CD16B3F62403}" dt="2024-09-05T22:53:44.632" v="4548"/>
          <ac:graphicFrameMkLst>
            <pc:docMk/>
            <pc:sldMk cId="571756205" sldId="259"/>
            <ac:graphicFrameMk id="2105" creationId="{F8892095-D236-0B7D-2333-3818A6B4AB50}"/>
          </ac:graphicFrameMkLst>
        </pc:graphicFrameChg>
        <pc:graphicFrameChg chg="add del mod ord">
          <ac:chgData name="Preskovvi .." userId="7c69300a0eb9d815" providerId="LiveId" clId="{31A119BB-21F2-4C39-BAF1-CD16B3F62403}" dt="2024-09-05T22:53:45.503" v="4604"/>
          <ac:graphicFrameMkLst>
            <pc:docMk/>
            <pc:sldMk cId="571756205" sldId="259"/>
            <ac:graphicFrameMk id="2106" creationId="{86B9CDDC-F676-4E4F-E5C5-3B4C269CADF5}"/>
          </ac:graphicFrameMkLst>
        </pc:graphicFrameChg>
        <pc:graphicFrameChg chg="add del mod ord">
          <ac:chgData name="Preskovvi .." userId="7c69300a0eb9d815" providerId="LiveId" clId="{31A119BB-21F2-4C39-BAF1-CD16B3F62403}" dt="2024-09-05T22:53:52.311" v="4660"/>
          <ac:graphicFrameMkLst>
            <pc:docMk/>
            <pc:sldMk cId="571756205" sldId="259"/>
            <ac:graphicFrameMk id="2107" creationId="{38EF80D5-9430-F163-D341-2563A0EB07C8}"/>
          </ac:graphicFrameMkLst>
        </pc:graphicFrameChg>
        <pc:graphicFrameChg chg="add del mod ord">
          <ac:chgData name="Preskovvi .." userId="7c69300a0eb9d815" providerId="LiveId" clId="{31A119BB-21F2-4C39-BAF1-CD16B3F62403}" dt="2024-09-05T22:54:44.632" v="4718"/>
          <ac:graphicFrameMkLst>
            <pc:docMk/>
            <pc:sldMk cId="571756205" sldId="259"/>
            <ac:graphicFrameMk id="2108" creationId="{80D324FF-E6B7-3234-2D4D-B1E4D3C9A1B0}"/>
          </ac:graphicFrameMkLst>
        </pc:graphicFrameChg>
        <pc:graphicFrameChg chg="add del mod ord">
          <ac:chgData name="Preskovvi .." userId="7c69300a0eb9d815" providerId="LiveId" clId="{31A119BB-21F2-4C39-BAF1-CD16B3F62403}" dt="2024-09-05T22:54:59.970" v="4777"/>
          <ac:graphicFrameMkLst>
            <pc:docMk/>
            <pc:sldMk cId="571756205" sldId="259"/>
            <ac:graphicFrameMk id="2109" creationId="{F03128AB-5AEA-DDEB-040C-4887AFF362A0}"/>
          </ac:graphicFrameMkLst>
        </pc:graphicFrameChg>
        <pc:graphicFrameChg chg="add mod ord">
          <ac:chgData name="Preskovvi .." userId="7c69300a0eb9d815" providerId="LiveId" clId="{31A119BB-21F2-4C39-BAF1-CD16B3F62403}" dt="2024-09-05T22:55:00" v="4803"/>
          <ac:graphicFrameMkLst>
            <pc:docMk/>
            <pc:sldMk cId="571756205" sldId="259"/>
            <ac:graphicFrameMk id="2110" creationId="{91690432-8A2B-DDC0-25DC-1E1AFA2C3D8E}"/>
          </ac:graphicFrameMkLst>
        </pc:graphicFrameChg>
        <pc:picChg chg="add del mod">
          <ac:chgData name="Preskovvi .." userId="7c69300a0eb9d815" providerId="LiveId" clId="{31A119BB-21F2-4C39-BAF1-CD16B3F62403}" dt="2024-09-05T22:31:30.003" v="632" actId="478"/>
          <ac:picMkLst>
            <pc:docMk/>
            <pc:sldMk cId="571756205" sldId="259"/>
            <ac:picMk id="20" creationId="{B37125F4-B112-B707-7031-43E5220C026D}"/>
          </ac:picMkLst>
        </pc:picChg>
        <pc:picChg chg="add mod ord">
          <ac:chgData name="Preskovvi .." userId="7c69300a0eb9d815" providerId="LiveId" clId="{31A119BB-21F2-4C39-BAF1-CD16B3F62403}" dt="2024-09-05T22:54:59.994" v="4786"/>
          <ac:picMkLst>
            <pc:docMk/>
            <pc:sldMk cId="571756205" sldId="259"/>
            <ac:picMk id="26" creationId="{DD458870-1214-9228-BB06-51A96892DFE2}"/>
          </ac:picMkLst>
        </pc:picChg>
        <pc:picChg chg="del">
          <ac:chgData name="Preskovvi .." userId="7c69300a0eb9d815" providerId="LiveId" clId="{31A119BB-21F2-4C39-BAF1-CD16B3F62403}" dt="2024-09-05T22:09:30.187" v="493" actId="478"/>
          <ac:picMkLst>
            <pc:docMk/>
            <pc:sldMk cId="571756205" sldId="259"/>
            <ac:picMk id="32" creationId="{F791944B-DD6E-F9DB-F1AE-B39190668FBB}"/>
          </ac:picMkLst>
        </pc:picChg>
        <pc:picChg chg="del">
          <ac:chgData name="Preskovvi .." userId="7c69300a0eb9d815" providerId="LiveId" clId="{31A119BB-21F2-4C39-BAF1-CD16B3F62403}" dt="2024-09-05T22:09:30.187" v="493" actId="478"/>
          <ac:picMkLst>
            <pc:docMk/>
            <pc:sldMk cId="571756205" sldId="259"/>
            <ac:picMk id="33" creationId="{76E765C1-4290-AA15-DCD1-F3722C19C8FE}"/>
          </ac:picMkLst>
        </pc:picChg>
        <pc:picChg chg="del">
          <ac:chgData name="Preskovvi .." userId="7c69300a0eb9d815" providerId="LiveId" clId="{31A119BB-21F2-4C39-BAF1-CD16B3F62403}" dt="2024-09-05T22:09:30.187" v="493" actId="478"/>
          <ac:picMkLst>
            <pc:docMk/>
            <pc:sldMk cId="571756205" sldId="259"/>
            <ac:picMk id="34" creationId="{B0B8AD88-6A12-EE64-321C-29ED673B8213}"/>
          </ac:picMkLst>
        </pc:picChg>
        <pc:picChg chg="del">
          <ac:chgData name="Preskovvi .." userId="7c69300a0eb9d815" providerId="LiveId" clId="{31A119BB-21F2-4C39-BAF1-CD16B3F62403}" dt="2024-09-05T22:09:30.187" v="493" actId="478"/>
          <ac:picMkLst>
            <pc:docMk/>
            <pc:sldMk cId="571756205" sldId="259"/>
            <ac:picMk id="35" creationId="{767D8214-6B60-D8F9-EC1C-B4E40100AD0E}"/>
          </ac:picMkLst>
        </pc:picChg>
        <pc:picChg chg="del">
          <ac:chgData name="Preskovvi .." userId="7c69300a0eb9d815" providerId="LiveId" clId="{31A119BB-21F2-4C39-BAF1-CD16B3F62403}" dt="2024-09-05T22:09:30.187" v="493" actId="478"/>
          <ac:picMkLst>
            <pc:docMk/>
            <pc:sldMk cId="571756205" sldId="259"/>
            <ac:picMk id="36" creationId="{3367C612-3481-8664-B7E6-129A55CBC7BB}"/>
          </ac:picMkLst>
        </pc:picChg>
        <pc:picChg chg="add del mod">
          <ac:chgData name="Preskovvi .." userId="7c69300a0eb9d815" providerId="LiveId" clId="{31A119BB-21F2-4C39-BAF1-CD16B3F62403}" dt="2024-09-05T22:54:59.996" v="4793"/>
          <ac:picMkLst>
            <pc:docMk/>
            <pc:sldMk cId="571756205" sldId="259"/>
            <ac:picMk id="2050" creationId="{7D2FDA00-50B0-D788-437F-A0ED535771A8}"/>
          </ac:picMkLst>
        </pc:picChg>
        <pc:picChg chg="add mod">
          <ac:chgData name="Preskovvi .." userId="7c69300a0eb9d815" providerId="LiveId" clId="{31A119BB-21F2-4C39-BAF1-CD16B3F62403}" dt="2024-09-05T22:56:14.485" v="4832" actId="12789"/>
          <ac:picMkLst>
            <pc:docMk/>
            <pc:sldMk cId="571756205" sldId="259"/>
            <ac:picMk id="2054" creationId="{D84390C6-7BBD-107B-BCAA-B78E8BE07BD3}"/>
          </ac:picMkLst>
        </pc:picChg>
        <pc:picChg chg="add mod">
          <ac:chgData name="Preskovvi .." userId="7c69300a0eb9d815" providerId="LiveId" clId="{31A119BB-21F2-4C39-BAF1-CD16B3F62403}" dt="2024-09-05T22:56:14.485" v="4832" actId="12789"/>
          <ac:picMkLst>
            <pc:docMk/>
            <pc:sldMk cId="571756205" sldId="259"/>
            <ac:picMk id="2056" creationId="{D818191C-6BA5-61CE-AB39-0A6F16F27F95}"/>
          </ac:picMkLst>
        </pc:picChg>
        <pc:picChg chg="add mod">
          <ac:chgData name="Preskovvi .." userId="7c69300a0eb9d815" providerId="LiveId" clId="{31A119BB-21F2-4C39-BAF1-CD16B3F62403}" dt="2024-09-05T22:56:14.485" v="4832" actId="12789"/>
          <ac:picMkLst>
            <pc:docMk/>
            <pc:sldMk cId="571756205" sldId="259"/>
            <ac:picMk id="2058" creationId="{9E461666-C294-FB92-6CF7-1FAD69BB04CA}"/>
          </ac:picMkLst>
        </pc:picChg>
        <pc:picChg chg="add mod">
          <ac:chgData name="Preskovvi .." userId="7c69300a0eb9d815" providerId="LiveId" clId="{31A119BB-21F2-4C39-BAF1-CD16B3F62403}" dt="2024-09-05T22:56:14.485" v="4832" actId="12789"/>
          <ac:picMkLst>
            <pc:docMk/>
            <pc:sldMk cId="571756205" sldId="259"/>
            <ac:picMk id="2060" creationId="{A155AC1E-91A7-859B-5818-47DE26B81783}"/>
          </ac:picMkLst>
        </pc:picChg>
        <pc:picChg chg="add mod">
          <ac:chgData name="Preskovvi .." userId="7c69300a0eb9d815" providerId="LiveId" clId="{31A119BB-21F2-4C39-BAF1-CD16B3F62403}" dt="2024-09-05T22:56:14.485" v="4832" actId="12789"/>
          <ac:picMkLst>
            <pc:docMk/>
            <pc:sldMk cId="571756205" sldId="259"/>
            <ac:picMk id="2062" creationId="{3EA2600D-D388-5E12-7EC7-23CB220721D0}"/>
          </ac:picMkLst>
        </pc:picChg>
        <pc:picChg chg="add mod modCrop">
          <ac:chgData name="Preskovvi .." userId="7c69300a0eb9d815" providerId="LiveId" clId="{31A119BB-21F2-4C39-BAF1-CD16B3F62403}" dt="2024-09-05T23:08:08.377" v="4878" actId="1038"/>
          <ac:picMkLst>
            <pc:docMk/>
            <pc:sldMk cId="571756205" sldId="259"/>
            <ac:picMk id="2112" creationId="{8ED12858-C846-AEDB-FB54-88FE313D2202}"/>
          </ac:picMkLst>
        </pc:picChg>
        <pc:picChg chg="add del mod">
          <ac:chgData name="Preskovvi .." userId="7c69300a0eb9d815" providerId="LiveId" clId="{31A119BB-21F2-4C39-BAF1-CD16B3F62403}" dt="2024-09-05T23:11:00.896" v="4889" actId="478"/>
          <ac:picMkLst>
            <pc:docMk/>
            <pc:sldMk cId="571756205" sldId="259"/>
            <ac:picMk id="2114" creationId="{045570D7-D16B-1376-FF04-1884FA5DE764}"/>
          </ac:picMkLst>
        </pc:picChg>
        <pc:picChg chg="add del mod">
          <ac:chgData name="Preskovvi .." userId="7c69300a0eb9d815" providerId="LiveId" clId="{31A119BB-21F2-4C39-BAF1-CD16B3F62403}" dt="2024-09-05T23:09:02.130" v="4880" actId="478"/>
          <ac:picMkLst>
            <pc:docMk/>
            <pc:sldMk cId="571756205" sldId="259"/>
            <ac:picMk id="2116" creationId="{00823B61-3C8F-63B2-27EC-2911C94F185D}"/>
          </ac:picMkLst>
        </pc:picChg>
        <pc:picChg chg="add mod">
          <ac:chgData name="Preskovvi .." userId="7c69300a0eb9d815" providerId="LiveId" clId="{31A119BB-21F2-4C39-BAF1-CD16B3F62403}" dt="2024-09-05T23:10:12.739" v="4886" actId="1076"/>
          <ac:picMkLst>
            <pc:docMk/>
            <pc:sldMk cId="571756205" sldId="259"/>
            <ac:picMk id="2118" creationId="{DCD94245-3A3B-E659-4DE3-E0F279B86FCA}"/>
          </ac:picMkLst>
        </pc:picChg>
        <pc:cxnChg chg="add del mod ord">
          <ac:chgData name="Preskovvi .." userId="7c69300a0eb9d815" providerId="LiveId" clId="{31A119BB-21F2-4C39-BAF1-CD16B3F62403}" dt="2024-09-05T22:50:50.861" v="3230"/>
          <ac:cxnSpMkLst>
            <pc:docMk/>
            <pc:sldMk cId="571756205" sldId="259"/>
            <ac:cxnSpMk id="2083" creationId="{FCD46D3E-0079-9D69-E6A0-48A88F073AF8}"/>
          </ac:cxnSpMkLst>
        </pc:cxnChg>
      </pc:sldChg>
      <pc:sldChg chg="addSp delSp modSp add mod">
        <pc:chgData name="Preskovvi .." userId="7c69300a0eb9d815" providerId="LiveId" clId="{31A119BB-21F2-4C39-BAF1-CD16B3F62403}" dt="2024-09-06T11:24:41.825" v="6783" actId="20577"/>
        <pc:sldMkLst>
          <pc:docMk/>
          <pc:sldMk cId="4112126798" sldId="260"/>
        </pc:sldMkLst>
        <pc:spChg chg="del">
          <ac:chgData name="Preskovvi .." userId="7c69300a0eb9d815" providerId="LiveId" clId="{31A119BB-21F2-4C39-BAF1-CD16B3F62403}" dt="2024-09-05T23:16:17.670" v="4924"/>
          <ac:spMkLst>
            <pc:docMk/>
            <pc:sldMk cId="4112126798" sldId="260"/>
            <ac:spMk id="3" creationId="{3948DF14-B5A1-9D6B-9381-2E2B6A7080A7}"/>
          </ac:spMkLst>
        </pc:spChg>
        <pc:spChg chg="add del">
          <ac:chgData name="Preskovvi .." userId="7c69300a0eb9d815" providerId="LiveId" clId="{31A119BB-21F2-4C39-BAF1-CD16B3F62403}" dt="2024-09-05T23:24:42.291" v="4930" actId="22"/>
          <ac:spMkLst>
            <pc:docMk/>
            <pc:sldMk cId="4112126798" sldId="260"/>
            <ac:spMk id="5" creationId="{8CFB4721-43FE-99FB-CA0F-4185682AF049}"/>
          </ac:spMkLst>
        </pc:spChg>
        <pc:spChg chg="del">
          <ac:chgData name="Preskovvi .." userId="7c69300a0eb9d815" providerId="LiveId" clId="{31A119BB-21F2-4C39-BAF1-CD16B3F62403}" dt="2024-09-05T23:16:17.671" v="4926"/>
          <ac:spMkLst>
            <pc:docMk/>
            <pc:sldMk cId="4112126798" sldId="260"/>
            <ac:spMk id="6" creationId="{0AFDA39C-2305-10AE-3B1B-7E04F176C66E}"/>
          </ac:spMkLst>
        </pc:spChg>
        <pc:spChg chg="add mod ord">
          <ac:chgData name="Preskovvi .." userId="7c69300a0eb9d815" providerId="LiveId" clId="{31A119BB-21F2-4C39-BAF1-CD16B3F62403}" dt="2024-09-05T23:43:03.420" v="5101" actId="1035"/>
          <ac:spMkLst>
            <pc:docMk/>
            <pc:sldMk cId="4112126798" sldId="260"/>
            <ac:spMk id="8" creationId="{02869357-03E6-D9E5-0EC0-8F719DD7E26B}"/>
          </ac:spMkLst>
        </pc:spChg>
        <pc:spChg chg="add del mod">
          <ac:chgData name="Preskovvi .." userId="7c69300a0eb9d815" providerId="LiveId" clId="{31A119BB-21F2-4C39-BAF1-CD16B3F62403}" dt="2024-09-05T23:30:06.980" v="4957" actId="478"/>
          <ac:spMkLst>
            <pc:docMk/>
            <pc:sldMk cId="4112126798" sldId="260"/>
            <ac:spMk id="9" creationId="{38A1F498-6865-86CF-7902-A5DF2373A6A4}"/>
          </ac:spMkLst>
        </pc:spChg>
        <pc:spChg chg="add mod">
          <ac:chgData name="Preskovvi .." userId="7c69300a0eb9d815" providerId="LiveId" clId="{31A119BB-21F2-4C39-BAF1-CD16B3F62403}" dt="2024-09-06T11:24:41.825" v="6783" actId="20577"/>
          <ac:spMkLst>
            <pc:docMk/>
            <pc:sldMk cId="4112126798" sldId="260"/>
            <ac:spMk id="10" creationId="{6F982839-43CF-647B-B191-9E27711CCFBB}"/>
          </ac:spMkLst>
        </pc:spChg>
        <pc:spChg chg="mod ord">
          <ac:chgData name="Preskovvi .." userId="7c69300a0eb9d815" providerId="LiveId" clId="{31A119BB-21F2-4C39-BAF1-CD16B3F62403}" dt="2024-09-05T23:50:16.517" v="5146" actId="20577"/>
          <ac:spMkLst>
            <pc:docMk/>
            <pc:sldMk cId="4112126798" sldId="260"/>
            <ac:spMk id="11" creationId="{A2F7C1E5-1AAC-7ECF-D581-ABDA7276397F}"/>
          </ac:spMkLst>
        </pc:spChg>
        <pc:spChg chg="del">
          <ac:chgData name="Preskovvi .." userId="7c69300a0eb9d815" providerId="LiveId" clId="{31A119BB-21F2-4C39-BAF1-CD16B3F62403}" dt="2024-09-05T23:16:17.640" v="4896"/>
          <ac:spMkLst>
            <pc:docMk/>
            <pc:sldMk cId="4112126798" sldId="260"/>
            <ac:spMk id="12" creationId="{5A816E95-65CE-4C8B-733B-78208CD42DB1}"/>
          </ac:spMkLst>
        </pc:spChg>
        <pc:spChg chg="add mod">
          <ac:chgData name="Preskovvi .." userId="7c69300a0eb9d815" providerId="LiveId" clId="{31A119BB-21F2-4C39-BAF1-CD16B3F62403}" dt="2024-09-05T23:34:22.437" v="4993"/>
          <ac:spMkLst>
            <pc:docMk/>
            <pc:sldMk cId="4112126798" sldId="260"/>
            <ac:spMk id="13" creationId="{A6E54881-8EF6-7A77-15E4-805D7F1DD25B}"/>
          </ac:spMkLst>
        </pc:spChg>
        <pc:spChg chg="del">
          <ac:chgData name="Preskovvi .." userId="7c69300a0eb9d815" providerId="LiveId" clId="{31A119BB-21F2-4C39-BAF1-CD16B3F62403}" dt="2024-09-05T23:16:17.649" v="4902"/>
          <ac:spMkLst>
            <pc:docMk/>
            <pc:sldMk cId="4112126798" sldId="260"/>
            <ac:spMk id="14" creationId="{5A24C191-AD4D-F568-D3DE-38DDD85B8B00}"/>
          </ac:spMkLst>
        </pc:spChg>
        <pc:spChg chg="del">
          <ac:chgData name="Preskovvi .." userId="7c69300a0eb9d815" providerId="LiveId" clId="{31A119BB-21F2-4C39-BAF1-CD16B3F62403}" dt="2024-09-05T23:16:17.650" v="4904"/>
          <ac:spMkLst>
            <pc:docMk/>
            <pc:sldMk cId="4112126798" sldId="260"/>
            <ac:spMk id="29" creationId="{96FA116B-FFB0-25FC-FF69-4923312490FD}"/>
          </ac:spMkLst>
        </pc:spChg>
        <pc:spChg chg="del">
          <ac:chgData name="Preskovvi .." userId="7c69300a0eb9d815" providerId="LiveId" clId="{31A119BB-21F2-4C39-BAF1-CD16B3F62403}" dt="2024-09-05T23:16:17.643" v="4898"/>
          <ac:spMkLst>
            <pc:docMk/>
            <pc:sldMk cId="4112126798" sldId="260"/>
            <ac:spMk id="38" creationId="{8A7AFE12-4A83-BBA2-9070-37157C31E9BD}"/>
          </ac:spMkLst>
        </pc:spChg>
        <pc:spChg chg="del">
          <ac:chgData name="Preskovvi .." userId="7c69300a0eb9d815" providerId="LiveId" clId="{31A119BB-21F2-4C39-BAF1-CD16B3F62403}" dt="2024-09-05T23:16:17.663" v="4918"/>
          <ac:spMkLst>
            <pc:docMk/>
            <pc:sldMk cId="4112126798" sldId="260"/>
            <ac:spMk id="42" creationId="{A8475C40-C454-869D-20DB-3C44E3755CF4}"/>
          </ac:spMkLst>
        </pc:spChg>
        <pc:spChg chg="del">
          <ac:chgData name="Preskovvi .." userId="7c69300a0eb9d815" providerId="LiveId" clId="{31A119BB-21F2-4C39-BAF1-CD16B3F62403}" dt="2024-09-05T23:16:17.662" v="4916"/>
          <ac:spMkLst>
            <pc:docMk/>
            <pc:sldMk cId="4112126798" sldId="260"/>
            <ac:spMk id="52" creationId="{D6B2EF5F-1998-65BB-1AF5-5FBFE4AA9356}"/>
          </ac:spMkLst>
        </pc:spChg>
        <pc:spChg chg="del">
          <ac:chgData name="Preskovvi .." userId="7c69300a0eb9d815" providerId="LiveId" clId="{31A119BB-21F2-4C39-BAF1-CD16B3F62403}" dt="2024-09-05T23:16:17.660" v="4914"/>
          <ac:spMkLst>
            <pc:docMk/>
            <pc:sldMk cId="4112126798" sldId="260"/>
            <ac:spMk id="55" creationId="{1F003E31-3E2E-46F8-E74E-D4D94BDF924A}"/>
          </ac:spMkLst>
        </pc:spChg>
        <pc:spChg chg="del">
          <ac:chgData name="Preskovvi .." userId="7c69300a0eb9d815" providerId="LiveId" clId="{31A119BB-21F2-4C39-BAF1-CD16B3F62403}" dt="2024-09-05T23:16:17.658" v="4912"/>
          <ac:spMkLst>
            <pc:docMk/>
            <pc:sldMk cId="4112126798" sldId="260"/>
            <ac:spMk id="58" creationId="{E0FA8873-2C3A-2E4D-C5CD-FAA36BF152FC}"/>
          </ac:spMkLst>
        </pc:spChg>
        <pc:spChg chg="del">
          <ac:chgData name="Preskovvi .." userId="7c69300a0eb9d815" providerId="LiveId" clId="{31A119BB-21F2-4C39-BAF1-CD16B3F62403}" dt="2024-09-05T23:16:17.656" v="4910"/>
          <ac:spMkLst>
            <pc:docMk/>
            <pc:sldMk cId="4112126798" sldId="260"/>
            <ac:spMk id="61" creationId="{F90FAE90-F367-0045-AC5E-8929B70CB590}"/>
          </ac:spMkLst>
        </pc:spChg>
        <pc:spChg chg="del">
          <ac:chgData name="Preskovvi .." userId="7c69300a0eb9d815" providerId="LiveId" clId="{31A119BB-21F2-4C39-BAF1-CD16B3F62403}" dt="2024-09-05T23:16:17.660" v="4915"/>
          <ac:spMkLst>
            <pc:docMk/>
            <pc:sldMk cId="4112126798" sldId="260"/>
            <ac:spMk id="2075" creationId="{A8475C40-C454-869D-20DB-3C44E3755CF4}"/>
          </ac:spMkLst>
        </pc:spChg>
        <pc:spChg chg="del">
          <ac:chgData name="Preskovvi .." userId="7c69300a0eb9d815" providerId="LiveId" clId="{31A119BB-21F2-4C39-BAF1-CD16B3F62403}" dt="2024-09-05T23:16:17.662" v="4917"/>
          <ac:spMkLst>
            <pc:docMk/>
            <pc:sldMk cId="4112126798" sldId="260"/>
            <ac:spMk id="2079" creationId="{A8475C40-C454-869D-20DB-3C44E3755CF4}"/>
          </ac:spMkLst>
        </pc:spChg>
        <pc:spChg chg="del">
          <ac:chgData name="Preskovvi .." userId="7c69300a0eb9d815" providerId="LiveId" clId="{31A119BB-21F2-4C39-BAF1-CD16B3F62403}" dt="2024-09-05T23:16:17.659" v="4913"/>
          <ac:spMkLst>
            <pc:docMk/>
            <pc:sldMk cId="4112126798" sldId="260"/>
            <ac:spMk id="2080" creationId="{A8475C40-C454-869D-20DB-3C44E3755CF4}"/>
          </ac:spMkLst>
        </pc:spChg>
        <pc:spChg chg="del">
          <ac:chgData name="Preskovvi .." userId="7c69300a0eb9d815" providerId="LiveId" clId="{31A119BB-21F2-4C39-BAF1-CD16B3F62403}" dt="2024-09-05T23:16:17.658" v="4911"/>
          <ac:spMkLst>
            <pc:docMk/>
            <pc:sldMk cId="4112126798" sldId="260"/>
            <ac:spMk id="2081" creationId="{A8475C40-C454-869D-20DB-3C44E3755CF4}"/>
          </ac:spMkLst>
        </pc:spChg>
        <pc:spChg chg="del">
          <ac:chgData name="Preskovvi .." userId="7c69300a0eb9d815" providerId="LiveId" clId="{31A119BB-21F2-4C39-BAF1-CD16B3F62403}" dt="2024-09-05T23:16:17.656" v="4909"/>
          <ac:spMkLst>
            <pc:docMk/>
            <pc:sldMk cId="4112126798" sldId="260"/>
            <ac:spMk id="2082" creationId="{A8475C40-C454-869D-20DB-3C44E3755CF4}"/>
          </ac:spMkLst>
        </pc:spChg>
        <pc:graphicFrameChg chg="mod">
          <ac:chgData name="Preskovvi .." userId="7c69300a0eb9d815" providerId="LiveId" clId="{31A119BB-21F2-4C39-BAF1-CD16B3F62403}" dt="2024-09-05T23:30:28.436" v="4965"/>
          <ac:graphicFrameMkLst>
            <pc:docMk/>
            <pc:sldMk cId="4112126798" sldId="260"/>
            <ac:graphicFrameMk id="4" creationId="{88EA9C2E-0A49-8BF2-DC81-AB857322CE89}"/>
          </ac:graphicFrameMkLst>
        </pc:graphicFrameChg>
        <pc:graphicFrameChg chg="del">
          <ac:chgData name="Preskovvi .." userId="7c69300a0eb9d815" providerId="LiveId" clId="{31A119BB-21F2-4C39-BAF1-CD16B3F62403}" dt="2024-09-05T23:16:17.665" v="4920"/>
          <ac:graphicFrameMkLst>
            <pc:docMk/>
            <pc:sldMk cId="4112126798" sldId="260"/>
            <ac:graphicFrameMk id="2110" creationId="{91690432-8A2B-DDC0-25DC-1E1AFA2C3D8E}"/>
          </ac:graphicFrameMkLst>
        </pc:graphicFrameChg>
        <pc:picChg chg="add del mod modCrop">
          <ac:chgData name="Preskovvi .." userId="7c69300a0eb9d815" providerId="LiveId" clId="{31A119BB-21F2-4C39-BAF1-CD16B3F62403}" dt="2024-09-05T23:38:16.674" v="5013" actId="478"/>
          <ac:picMkLst>
            <pc:docMk/>
            <pc:sldMk cId="4112126798" sldId="260"/>
            <ac:picMk id="15" creationId="{D327CCCD-4496-1EE8-BECF-F9B9658C56D2}"/>
          </ac:picMkLst>
        </pc:picChg>
        <pc:picChg chg="del">
          <ac:chgData name="Preskovvi .." userId="7c69300a0eb9d815" providerId="LiveId" clId="{31A119BB-21F2-4C39-BAF1-CD16B3F62403}" dt="2024-09-05T23:16:17.667" v="4922"/>
          <ac:picMkLst>
            <pc:docMk/>
            <pc:sldMk cId="4112126798" sldId="260"/>
            <ac:picMk id="26" creationId="{DD458870-1214-9228-BB06-51A96892DFE2}"/>
          </ac:picMkLst>
        </pc:picChg>
        <pc:picChg chg="del">
          <ac:chgData name="Preskovvi .." userId="7c69300a0eb9d815" providerId="LiveId" clId="{31A119BB-21F2-4C39-BAF1-CD16B3F62403}" dt="2024-09-05T23:16:17.637" v="4894"/>
          <ac:picMkLst>
            <pc:docMk/>
            <pc:sldMk cId="4112126798" sldId="260"/>
            <ac:picMk id="2050" creationId="{7D2FDA00-50B0-D788-437F-A0ED535771A8}"/>
          </ac:picMkLst>
        </pc:picChg>
        <pc:picChg chg="del">
          <ac:chgData name="Preskovvi .." userId="7c69300a0eb9d815" providerId="LiveId" clId="{31A119BB-21F2-4C39-BAF1-CD16B3F62403}" dt="2024-09-05T23:16:17.645" v="4899"/>
          <ac:picMkLst>
            <pc:docMk/>
            <pc:sldMk cId="4112126798" sldId="260"/>
            <ac:picMk id="2054" creationId="{D84390C6-7BBD-107B-BCAA-B78E8BE07BD3}"/>
          </ac:picMkLst>
        </pc:picChg>
        <pc:picChg chg="del">
          <ac:chgData name="Preskovvi .." userId="7c69300a0eb9d815" providerId="LiveId" clId="{31A119BB-21F2-4C39-BAF1-CD16B3F62403}" dt="2024-09-05T23:16:17.646" v="4900"/>
          <ac:picMkLst>
            <pc:docMk/>
            <pc:sldMk cId="4112126798" sldId="260"/>
            <ac:picMk id="2056" creationId="{D818191C-6BA5-61CE-AB39-0A6F16F27F95}"/>
          </ac:picMkLst>
        </pc:picChg>
        <pc:picChg chg="del">
          <ac:chgData name="Preskovvi .." userId="7c69300a0eb9d815" providerId="LiveId" clId="{31A119BB-21F2-4C39-BAF1-CD16B3F62403}" dt="2024-09-05T23:16:17.651" v="4905"/>
          <ac:picMkLst>
            <pc:docMk/>
            <pc:sldMk cId="4112126798" sldId="260"/>
            <ac:picMk id="2058" creationId="{9E461666-C294-FB92-6CF7-1FAD69BB04CA}"/>
          </ac:picMkLst>
        </pc:picChg>
        <pc:picChg chg="del">
          <ac:chgData name="Preskovvi .." userId="7c69300a0eb9d815" providerId="LiveId" clId="{31A119BB-21F2-4C39-BAF1-CD16B3F62403}" dt="2024-09-05T23:16:17.653" v="4906"/>
          <ac:picMkLst>
            <pc:docMk/>
            <pc:sldMk cId="4112126798" sldId="260"/>
            <ac:picMk id="2060" creationId="{A155AC1E-91A7-859B-5818-47DE26B81783}"/>
          </ac:picMkLst>
        </pc:picChg>
        <pc:picChg chg="del">
          <ac:chgData name="Preskovvi .." userId="7c69300a0eb9d815" providerId="LiveId" clId="{31A119BB-21F2-4C39-BAF1-CD16B3F62403}" dt="2024-09-05T23:16:17.631" v="4891"/>
          <ac:picMkLst>
            <pc:docMk/>
            <pc:sldMk cId="4112126798" sldId="260"/>
            <ac:picMk id="2062" creationId="{3EA2600D-D388-5E12-7EC7-23CB220721D0}"/>
          </ac:picMkLst>
        </pc:picChg>
        <pc:picChg chg="del">
          <ac:chgData name="Preskovvi .." userId="7c69300a0eb9d815" providerId="LiveId" clId="{31A119BB-21F2-4C39-BAF1-CD16B3F62403}" dt="2024-09-05T23:16:17.635" v="4893"/>
          <ac:picMkLst>
            <pc:docMk/>
            <pc:sldMk cId="4112126798" sldId="260"/>
            <ac:picMk id="2112" creationId="{8ED12858-C846-AEDB-FB54-88FE313D2202}"/>
          </ac:picMkLst>
        </pc:picChg>
        <pc:picChg chg="del">
          <ac:chgData name="Preskovvi .." userId="7c69300a0eb9d815" providerId="LiveId" clId="{31A119BB-21F2-4C39-BAF1-CD16B3F62403}" dt="2024-09-05T23:16:17.656" v="4908"/>
          <ac:picMkLst>
            <pc:docMk/>
            <pc:sldMk cId="4112126798" sldId="260"/>
            <ac:picMk id="2118" creationId="{DCD94245-3A3B-E659-4DE3-E0F279B86FCA}"/>
          </ac:picMkLst>
        </pc:picChg>
        <pc:picChg chg="add del mod">
          <ac:chgData name="Preskovvi .." userId="7c69300a0eb9d815" providerId="LiveId" clId="{31A119BB-21F2-4C39-BAF1-CD16B3F62403}" dt="2024-09-05T23:29:02.713" v="4948" actId="478"/>
          <ac:picMkLst>
            <pc:docMk/>
            <pc:sldMk cId="4112126798" sldId="260"/>
            <ac:picMk id="3074" creationId="{470C5218-4DB1-3346-1ABF-0768E4300BC1}"/>
          </ac:picMkLst>
        </pc:picChg>
        <pc:picChg chg="add del mod">
          <ac:chgData name="Preskovvi .." userId="7c69300a0eb9d815" providerId="LiveId" clId="{31A119BB-21F2-4C39-BAF1-CD16B3F62403}" dt="2024-09-05T23:33:30.264" v="4988" actId="478"/>
          <ac:picMkLst>
            <pc:docMk/>
            <pc:sldMk cId="4112126798" sldId="260"/>
            <ac:picMk id="3076" creationId="{8686B14F-29D9-8E44-D80A-19E0FAFBD1E6}"/>
          </ac:picMkLst>
        </pc:picChg>
        <pc:picChg chg="add del mod">
          <ac:chgData name="Preskovvi .." userId="7c69300a0eb9d815" providerId="LiveId" clId="{31A119BB-21F2-4C39-BAF1-CD16B3F62403}" dt="2024-09-05T23:35:01.227" v="4997" actId="478"/>
          <ac:picMkLst>
            <pc:docMk/>
            <pc:sldMk cId="4112126798" sldId="260"/>
            <ac:picMk id="3078" creationId="{21F574C3-1DF0-A716-9B1C-AB832A876A89}"/>
          </ac:picMkLst>
        </pc:picChg>
        <pc:picChg chg="add mod">
          <ac:chgData name="Preskovvi .." userId="7c69300a0eb9d815" providerId="LiveId" clId="{31A119BB-21F2-4C39-BAF1-CD16B3F62403}" dt="2024-09-05T23:38:23.612" v="5016" actId="1076"/>
          <ac:picMkLst>
            <pc:docMk/>
            <pc:sldMk cId="4112126798" sldId="260"/>
            <ac:picMk id="3082" creationId="{87D55F96-6D90-1408-4C2F-5AD9CC07F981}"/>
          </ac:picMkLst>
        </pc:picChg>
      </pc:sldChg>
      <pc:sldChg chg="addSp delSp modSp new mod">
        <pc:chgData name="Preskovvi .." userId="7c69300a0eb9d815" providerId="LiveId" clId="{31A119BB-21F2-4C39-BAF1-CD16B3F62403}" dt="2024-09-06T08:13:44.120" v="6593" actId="1035"/>
        <pc:sldMkLst>
          <pc:docMk/>
          <pc:sldMk cId="418379368" sldId="261"/>
        </pc:sldMkLst>
        <pc:spChg chg="del">
          <ac:chgData name="Preskovvi .." userId="7c69300a0eb9d815" providerId="LiveId" clId="{31A119BB-21F2-4C39-BAF1-CD16B3F62403}" dt="2024-09-05T23:44:21.093" v="5103" actId="478"/>
          <ac:spMkLst>
            <pc:docMk/>
            <pc:sldMk cId="418379368" sldId="261"/>
            <ac:spMk id="2" creationId="{95A02048-9C69-0F52-5FF3-FF1242D6173A}"/>
          </ac:spMkLst>
        </pc:spChg>
        <pc:spChg chg="del">
          <ac:chgData name="Preskovvi .." userId="7c69300a0eb9d815" providerId="LiveId" clId="{31A119BB-21F2-4C39-BAF1-CD16B3F62403}" dt="2024-09-05T23:44:21.093" v="5103" actId="478"/>
          <ac:spMkLst>
            <pc:docMk/>
            <pc:sldMk cId="418379368" sldId="261"/>
            <ac:spMk id="3" creationId="{9A331F7C-9B7F-4C58-4C8B-43671E84EA27}"/>
          </ac:spMkLst>
        </pc:spChg>
        <pc:spChg chg="add mod">
          <ac:chgData name="Preskovvi .." userId="7c69300a0eb9d815" providerId="LiveId" clId="{31A119BB-21F2-4C39-BAF1-CD16B3F62403}" dt="2024-09-06T00:19:44.513" v="5613"/>
          <ac:spMkLst>
            <pc:docMk/>
            <pc:sldMk cId="418379368" sldId="261"/>
            <ac:spMk id="5" creationId="{B552AC29-4338-F4F9-B9AD-06C68BB68108}"/>
          </ac:spMkLst>
        </pc:spChg>
        <pc:spChg chg="mod">
          <ac:chgData name="Preskovvi .." userId="7c69300a0eb9d815" providerId="LiveId" clId="{31A119BB-21F2-4C39-BAF1-CD16B3F62403}" dt="2024-09-06T00:37:26.751" v="5847" actId="1037"/>
          <ac:spMkLst>
            <pc:docMk/>
            <pc:sldMk cId="418379368" sldId="261"/>
            <ac:spMk id="8" creationId="{97EBF24B-37C4-71BF-B1A8-6745F8EBC43C}"/>
          </ac:spMkLst>
        </pc:spChg>
        <pc:spChg chg="mod">
          <ac:chgData name="Preskovvi .." userId="7c69300a0eb9d815" providerId="LiveId" clId="{31A119BB-21F2-4C39-BAF1-CD16B3F62403}" dt="2024-09-06T00:04:44.905" v="5451" actId="408"/>
          <ac:spMkLst>
            <pc:docMk/>
            <pc:sldMk cId="418379368" sldId="261"/>
            <ac:spMk id="11" creationId="{78AC907F-8387-A4E7-AC9A-B1EDDCD3459F}"/>
          </ac:spMkLst>
        </pc:spChg>
        <pc:spChg chg="mod">
          <ac:chgData name="Preskovvi .." userId="7c69300a0eb9d815" providerId="LiveId" clId="{31A119BB-21F2-4C39-BAF1-CD16B3F62403}" dt="2024-09-06T00:04:44.905" v="5451" actId="408"/>
          <ac:spMkLst>
            <pc:docMk/>
            <pc:sldMk cId="418379368" sldId="261"/>
            <ac:spMk id="14" creationId="{688DC1E6-BEF9-920C-7ED9-718B6C6F747D}"/>
          </ac:spMkLst>
        </pc:spChg>
        <pc:spChg chg="mod">
          <ac:chgData name="Preskovvi .." userId="7c69300a0eb9d815" providerId="LiveId" clId="{31A119BB-21F2-4C39-BAF1-CD16B3F62403}" dt="2024-09-06T00:04:44.905" v="5451" actId="408"/>
          <ac:spMkLst>
            <pc:docMk/>
            <pc:sldMk cId="418379368" sldId="261"/>
            <ac:spMk id="16" creationId="{323BC8A0-9D1C-7A64-00BB-059D5DDB655C}"/>
          </ac:spMkLst>
        </pc:spChg>
        <pc:spChg chg="mod">
          <ac:chgData name="Preskovvi .." userId="7c69300a0eb9d815" providerId="LiveId" clId="{31A119BB-21F2-4C39-BAF1-CD16B3F62403}" dt="2024-09-06T00:04:44.905" v="5451" actId="408"/>
          <ac:spMkLst>
            <pc:docMk/>
            <pc:sldMk cId="418379368" sldId="261"/>
            <ac:spMk id="20" creationId="{85C063EF-8E2F-1598-2172-C07BB4B26700}"/>
          </ac:spMkLst>
        </pc:spChg>
        <pc:spChg chg="mod">
          <ac:chgData name="Preskovvi .." userId="7c69300a0eb9d815" providerId="LiveId" clId="{31A119BB-21F2-4C39-BAF1-CD16B3F62403}" dt="2024-09-06T00:04:14.891" v="5376" actId="1037"/>
          <ac:spMkLst>
            <pc:docMk/>
            <pc:sldMk cId="418379368" sldId="261"/>
            <ac:spMk id="23" creationId="{96AA6899-6918-8F48-64C2-4EC5C27371E3}"/>
          </ac:spMkLst>
        </pc:spChg>
        <pc:spChg chg="add mod">
          <ac:chgData name="Preskovvi .." userId="7c69300a0eb9d815" providerId="LiveId" clId="{31A119BB-21F2-4C39-BAF1-CD16B3F62403}" dt="2024-09-06T00:36:40.453" v="5803" actId="1038"/>
          <ac:spMkLst>
            <pc:docMk/>
            <pc:sldMk cId="418379368" sldId="261"/>
            <ac:spMk id="24" creationId="{75B9A570-7CD7-C46E-05B7-B7FCAEFA783A}"/>
          </ac:spMkLst>
        </pc:spChg>
        <pc:spChg chg="add del mod">
          <ac:chgData name="Preskovvi .." userId="7c69300a0eb9d815" providerId="LiveId" clId="{31A119BB-21F2-4C39-BAF1-CD16B3F62403}" dt="2024-09-06T08:12:25.079" v="6572" actId="478"/>
          <ac:spMkLst>
            <pc:docMk/>
            <pc:sldMk cId="418379368" sldId="261"/>
            <ac:spMk id="33" creationId="{1F141164-C1D9-940C-89E3-97A397C62313}"/>
          </ac:spMkLst>
        </pc:spChg>
        <pc:spChg chg="add mod">
          <ac:chgData name="Preskovvi .." userId="7c69300a0eb9d815" providerId="LiveId" clId="{31A119BB-21F2-4C39-BAF1-CD16B3F62403}" dt="2024-09-06T08:13:44.120" v="6593" actId="1035"/>
          <ac:spMkLst>
            <pc:docMk/>
            <pc:sldMk cId="418379368" sldId="261"/>
            <ac:spMk id="35" creationId="{1681F0CC-6421-CE31-3AD5-B5D5F5909F00}"/>
          </ac:spMkLst>
        </pc:spChg>
        <pc:grpChg chg="add mod">
          <ac:chgData name="Preskovvi .." userId="7c69300a0eb9d815" providerId="LiveId" clId="{31A119BB-21F2-4C39-BAF1-CD16B3F62403}" dt="2024-09-06T00:37:26.751" v="5847" actId="1037"/>
          <ac:grpSpMkLst>
            <pc:docMk/>
            <pc:sldMk cId="418379368" sldId="261"/>
            <ac:grpSpMk id="6" creationId="{C8089B0D-341B-4AAE-2EBA-03C7F48B76C5}"/>
          </ac:grpSpMkLst>
        </pc:grpChg>
        <pc:grpChg chg="add del mod">
          <ac:chgData name="Preskovvi .." userId="7c69300a0eb9d815" providerId="LiveId" clId="{31A119BB-21F2-4C39-BAF1-CD16B3F62403}" dt="2024-09-06T00:37:14.413" v="5807" actId="478"/>
          <ac:grpSpMkLst>
            <pc:docMk/>
            <pc:sldMk cId="418379368" sldId="261"/>
            <ac:grpSpMk id="9" creationId="{813AEF81-AE10-3A9B-AA48-FA33716C3A73}"/>
          </ac:grpSpMkLst>
        </pc:grpChg>
        <pc:grpChg chg="add mod">
          <ac:chgData name="Preskovvi .." userId="7c69300a0eb9d815" providerId="LiveId" clId="{31A119BB-21F2-4C39-BAF1-CD16B3F62403}" dt="2024-09-06T00:04:44.905" v="5451" actId="408"/>
          <ac:grpSpMkLst>
            <pc:docMk/>
            <pc:sldMk cId="418379368" sldId="261"/>
            <ac:grpSpMk id="12" creationId="{2E1428F6-0AA3-AD38-CF5C-4925904B8F6B}"/>
          </ac:grpSpMkLst>
        </pc:grpChg>
        <pc:grpChg chg="add del mod">
          <ac:chgData name="Preskovvi .." userId="7c69300a0eb9d815" providerId="LiveId" clId="{31A119BB-21F2-4C39-BAF1-CD16B3F62403}" dt="2024-09-06T00:37:21.477" v="5808" actId="478"/>
          <ac:grpSpMkLst>
            <pc:docMk/>
            <pc:sldMk cId="418379368" sldId="261"/>
            <ac:grpSpMk id="15" creationId="{39A35E14-124F-8D0C-1684-FFBB72084264}"/>
          </ac:grpSpMkLst>
        </pc:grpChg>
        <pc:grpChg chg="add mod">
          <ac:chgData name="Preskovvi .." userId="7c69300a0eb9d815" providerId="LiveId" clId="{31A119BB-21F2-4C39-BAF1-CD16B3F62403}" dt="2024-09-06T00:04:44.905" v="5451" actId="408"/>
          <ac:grpSpMkLst>
            <pc:docMk/>
            <pc:sldMk cId="418379368" sldId="261"/>
            <ac:grpSpMk id="18" creationId="{0E4CE36E-1A31-6074-4D78-527528203230}"/>
          </ac:grpSpMkLst>
        </pc:grpChg>
        <pc:grpChg chg="add mod">
          <ac:chgData name="Preskovvi .." userId="7c69300a0eb9d815" providerId="LiveId" clId="{31A119BB-21F2-4C39-BAF1-CD16B3F62403}" dt="2024-09-06T00:04:44.905" v="5451" actId="408"/>
          <ac:grpSpMkLst>
            <pc:docMk/>
            <pc:sldMk cId="418379368" sldId="261"/>
            <ac:grpSpMk id="21" creationId="{0F6CEC7F-9803-3B3F-1F61-8C110D51C289}"/>
          </ac:grpSpMkLst>
        </pc:grpChg>
        <pc:graphicFrameChg chg="add mod modVis">
          <ac:chgData name="Preskovvi .." userId="7c69300a0eb9d815" providerId="LiveId" clId="{31A119BB-21F2-4C39-BAF1-CD16B3F62403}" dt="2024-09-05T23:44:21.659" v="5115"/>
          <ac:graphicFrameMkLst>
            <pc:docMk/>
            <pc:sldMk cId="418379368" sldId="261"/>
            <ac:graphicFrameMk id="4" creationId="{0952706A-05B4-CB56-EFB2-864C212EE24C}"/>
          </ac:graphicFrameMkLst>
        </pc:graphicFrameChg>
        <pc:picChg chg="mod">
          <ac:chgData name="Preskovvi .." userId="7c69300a0eb9d815" providerId="LiveId" clId="{31A119BB-21F2-4C39-BAF1-CD16B3F62403}" dt="2024-09-06T00:37:26.751" v="5847" actId="1037"/>
          <ac:picMkLst>
            <pc:docMk/>
            <pc:sldMk cId="418379368" sldId="261"/>
            <ac:picMk id="7" creationId="{88BC733F-B4B1-DD7B-D29F-F43C17D7B142}"/>
          </ac:picMkLst>
        </pc:picChg>
        <pc:picChg chg="mod">
          <ac:chgData name="Preskovvi .." userId="7c69300a0eb9d815" providerId="LiveId" clId="{31A119BB-21F2-4C39-BAF1-CD16B3F62403}" dt="2024-09-06T00:04:44.905" v="5451" actId="408"/>
          <ac:picMkLst>
            <pc:docMk/>
            <pc:sldMk cId="418379368" sldId="261"/>
            <ac:picMk id="10" creationId="{6A13A7DB-A524-3DEA-4F32-B4ED201D0B19}"/>
          </ac:picMkLst>
        </pc:picChg>
        <pc:picChg chg="mod">
          <ac:chgData name="Preskovvi .." userId="7c69300a0eb9d815" providerId="LiveId" clId="{31A119BB-21F2-4C39-BAF1-CD16B3F62403}" dt="2024-09-06T00:04:44.905" v="5451" actId="408"/>
          <ac:picMkLst>
            <pc:docMk/>
            <pc:sldMk cId="418379368" sldId="261"/>
            <ac:picMk id="13" creationId="{4710AC1D-F78F-0096-5286-0A49A48EF256}"/>
          </ac:picMkLst>
        </pc:picChg>
        <pc:picChg chg="mod">
          <ac:chgData name="Preskovvi .." userId="7c69300a0eb9d815" providerId="LiveId" clId="{31A119BB-21F2-4C39-BAF1-CD16B3F62403}" dt="2024-09-06T00:04:44.905" v="5451" actId="408"/>
          <ac:picMkLst>
            <pc:docMk/>
            <pc:sldMk cId="418379368" sldId="261"/>
            <ac:picMk id="17" creationId="{CAF05274-643B-1CE3-4D02-85BE0537EC71}"/>
          </ac:picMkLst>
        </pc:picChg>
        <pc:picChg chg="mod">
          <ac:chgData name="Preskovvi .." userId="7c69300a0eb9d815" providerId="LiveId" clId="{31A119BB-21F2-4C39-BAF1-CD16B3F62403}" dt="2024-09-06T00:04:44.905" v="5451" actId="408"/>
          <ac:picMkLst>
            <pc:docMk/>
            <pc:sldMk cId="418379368" sldId="261"/>
            <ac:picMk id="19" creationId="{764760F3-0693-9AAE-0117-F6046D917CFF}"/>
          </ac:picMkLst>
        </pc:picChg>
        <pc:picChg chg="mod">
          <ac:chgData name="Preskovvi .." userId="7c69300a0eb9d815" providerId="LiveId" clId="{31A119BB-21F2-4C39-BAF1-CD16B3F62403}" dt="2024-09-06T00:04:14.891" v="5376" actId="1037"/>
          <ac:picMkLst>
            <pc:docMk/>
            <pc:sldMk cId="418379368" sldId="261"/>
            <ac:picMk id="22" creationId="{0D7CD293-A70E-E5E2-142D-C1AFB4C8D8F4}"/>
          </ac:picMkLst>
        </pc:picChg>
        <pc:picChg chg="add mod">
          <ac:chgData name="Preskovvi .." userId="7c69300a0eb9d815" providerId="LiveId" clId="{31A119BB-21F2-4C39-BAF1-CD16B3F62403}" dt="2024-09-06T00:08:30.785" v="5528" actId="1037"/>
          <ac:picMkLst>
            <pc:docMk/>
            <pc:sldMk cId="418379368" sldId="261"/>
            <ac:picMk id="26" creationId="{9A2A27D1-3D29-B690-8691-96091629C1D4}"/>
          </ac:picMkLst>
        </pc:picChg>
        <pc:picChg chg="add mod">
          <ac:chgData name="Preskovvi .." userId="7c69300a0eb9d815" providerId="LiveId" clId="{31A119BB-21F2-4C39-BAF1-CD16B3F62403}" dt="2024-09-06T00:08:30.785" v="5528" actId="1037"/>
          <ac:picMkLst>
            <pc:docMk/>
            <pc:sldMk cId="418379368" sldId="261"/>
            <ac:picMk id="28" creationId="{88034B0D-DAC3-03D6-6CBB-75A86C7A3C65}"/>
          </ac:picMkLst>
        </pc:picChg>
        <pc:picChg chg="add mod">
          <ac:chgData name="Preskovvi .." userId="7c69300a0eb9d815" providerId="LiveId" clId="{31A119BB-21F2-4C39-BAF1-CD16B3F62403}" dt="2024-09-06T00:37:40.655" v="5850" actId="14100"/>
          <ac:picMkLst>
            <pc:docMk/>
            <pc:sldMk cId="418379368" sldId="261"/>
            <ac:picMk id="30" creationId="{06D8312A-29A9-7B2B-BB02-73B16AB38725}"/>
          </ac:picMkLst>
        </pc:picChg>
        <pc:picChg chg="add mod">
          <ac:chgData name="Preskovvi .." userId="7c69300a0eb9d815" providerId="LiveId" clId="{31A119BB-21F2-4C39-BAF1-CD16B3F62403}" dt="2024-09-06T00:37:35.436" v="5849" actId="14100"/>
          <ac:picMkLst>
            <pc:docMk/>
            <pc:sldMk cId="418379368" sldId="261"/>
            <ac:picMk id="32" creationId="{7143E9B7-2399-D10F-7197-1D2ABCAF06AA}"/>
          </ac:picMkLst>
        </pc:picChg>
      </pc:sldChg>
      <pc:sldChg chg="add del">
        <pc:chgData name="Preskovvi .." userId="7c69300a0eb9d815" providerId="LiveId" clId="{31A119BB-21F2-4C39-BAF1-CD16B3F62403}" dt="2024-09-05T23:50:30.969" v="5148"/>
        <pc:sldMkLst>
          <pc:docMk/>
          <pc:sldMk cId="656717714" sldId="262"/>
        </pc:sldMkLst>
      </pc:sldChg>
      <pc:sldChg chg="addSp delSp modSp add mod modNotesTx">
        <pc:chgData name="Preskovvi .." userId="7c69300a0eb9d815" providerId="LiveId" clId="{31A119BB-21F2-4C39-BAF1-CD16B3F62403}" dt="2024-09-06T00:34:00.446" v="5774" actId="1038"/>
        <pc:sldMkLst>
          <pc:docMk/>
          <pc:sldMk cId="4013791146" sldId="262"/>
        </pc:sldMkLst>
        <pc:spChg chg="add mod">
          <ac:chgData name="Preskovvi .." userId="7c69300a0eb9d815" providerId="LiveId" clId="{31A119BB-21F2-4C39-BAF1-CD16B3F62403}" dt="2024-09-06T00:33:36.238" v="5767" actId="14100"/>
          <ac:spMkLst>
            <pc:docMk/>
            <pc:sldMk cId="4013791146" sldId="262"/>
            <ac:spMk id="3" creationId="{0C4A4B46-2953-EA02-6A11-0A8905FEF887}"/>
          </ac:spMkLst>
        </pc:spChg>
        <pc:spChg chg="mod">
          <ac:chgData name="Preskovvi .." userId="7c69300a0eb9d815" providerId="LiveId" clId="{31A119BB-21F2-4C39-BAF1-CD16B3F62403}" dt="2024-09-06T00:25:43.189" v="5693"/>
          <ac:spMkLst>
            <pc:docMk/>
            <pc:sldMk cId="4013791146" sldId="262"/>
            <ac:spMk id="5" creationId="{B552AC29-4338-F4F9-B9AD-06C68BB68108}"/>
          </ac:spMkLst>
        </pc:spChg>
        <pc:spChg chg="del">
          <ac:chgData name="Preskovvi .." userId="7c69300a0eb9d815" providerId="LiveId" clId="{31A119BB-21F2-4C39-BAF1-CD16B3F62403}" dt="2024-09-06T00:00:39.497" v="5356" actId="478"/>
          <ac:spMkLst>
            <pc:docMk/>
            <pc:sldMk cId="4013791146" sldId="262"/>
            <ac:spMk id="24" creationId="{75B9A570-7CD7-C46E-05B7-B7FCAEFA783A}"/>
          </ac:spMkLst>
        </pc:spChg>
        <pc:spChg chg="add mod">
          <ac:chgData name="Preskovvi .." userId="7c69300a0eb9d815" providerId="LiveId" clId="{31A119BB-21F2-4C39-BAF1-CD16B3F62403}" dt="2024-09-06T00:33:36.238" v="5767" actId="14100"/>
          <ac:spMkLst>
            <pc:docMk/>
            <pc:sldMk cId="4013791146" sldId="262"/>
            <ac:spMk id="25" creationId="{E40719D7-D572-CB8D-C2B6-E7AC70C262B8}"/>
          </ac:spMkLst>
        </pc:spChg>
        <pc:spChg chg="add mod">
          <ac:chgData name="Preskovvi .." userId="7c69300a0eb9d815" providerId="LiveId" clId="{31A119BB-21F2-4C39-BAF1-CD16B3F62403}" dt="2024-09-06T00:33:36.238" v="5767" actId="14100"/>
          <ac:spMkLst>
            <pc:docMk/>
            <pc:sldMk cId="4013791146" sldId="262"/>
            <ac:spMk id="26" creationId="{AB8B3180-381E-D761-1B06-0D28FFA854F5}"/>
          </ac:spMkLst>
        </pc:spChg>
        <pc:spChg chg="add mod">
          <ac:chgData name="Preskovvi .." userId="7c69300a0eb9d815" providerId="LiveId" clId="{31A119BB-21F2-4C39-BAF1-CD16B3F62403}" dt="2024-09-06T00:33:36.238" v="5767" actId="14100"/>
          <ac:spMkLst>
            <pc:docMk/>
            <pc:sldMk cId="4013791146" sldId="262"/>
            <ac:spMk id="27" creationId="{966FA64A-969C-FA02-47D3-2B46FB11D81D}"/>
          </ac:spMkLst>
        </pc:spChg>
        <pc:spChg chg="add mod">
          <ac:chgData name="Preskovvi .." userId="7c69300a0eb9d815" providerId="LiveId" clId="{31A119BB-21F2-4C39-BAF1-CD16B3F62403}" dt="2024-09-06T00:24:08.313" v="5671" actId="123"/>
          <ac:spMkLst>
            <pc:docMk/>
            <pc:sldMk cId="4013791146" sldId="262"/>
            <ac:spMk id="29" creationId="{B61C77FE-A5FD-C102-B4E4-7EDEB968A1CA}"/>
          </ac:spMkLst>
        </pc:spChg>
        <pc:spChg chg="add mod">
          <ac:chgData name="Preskovvi .." userId="7c69300a0eb9d815" providerId="LiveId" clId="{31A119BB-21F2-4C39-BAF1-CD16B3F62403}" dt="2024-09-06T00:34:00.446" v="5774" actId="1038"/>
          <ac:spMkLst>
            <pc:docMk/>
            <pc:sldMk cId="4013791146" sldId="262"/>
            <ac:spMk id="30" creationId="{E92136C2-74F8-2235-C813-5AB8399D982F}"/>
          </ac:spMkLst>
        </pc:spChg>
        <pc:grpChg chg="del">
          <ac:chgData name="Preskovvi .." userId="7c69300a0eb9d815" providerId="LiveId" clId="{31A119BB-21F2-4C39-BAF1-CD16B3F62403}" dt="2024-09-06T00:00:39.497" v="5356" actId="478"/>
          <ac:grpSpMkLst>
            <pc:docMk/>
            <pc:sldMk cId="4013791146" sldId="262"/>
            <ac:grpSpMk id="6" creationId="{C8089B0D-341B-4AAE-2EBA-03C7F48B76C5}"/>
          </ac:grpSpMkLst>
        </pc:grpChg>
        <pc:grpChg chg="del">
          <ac:chgData name="Preskovvi .." userId="7c69300a0eb9d815" providerId="LiveId" clId="{31A119BB-21F2-4C39-BAF1-CD16B3F62403}" dt="2024-09-06T00:00:39.497" v="5356" actId="478"/>
          <ac:grpSpMkLst>
            <pc:docMk/>
            <pc:sldMk cId="4013791146" sldId="262"/>
            <ac:grpSpMk id="9" creationId="{813AEF81-AE10-3A9B-AA48-FA33716C3A73}"/>
          </ac:grpSpMkLst>
        </pc:grpChg>
        <pc:grpChg chg="del">
          <ac:chgData name="Preskovvi .." userId="7c69300a0eb9d815" providerId="LiveId" clId="{31A119BB-21F2-4C39-BAF1-CD16B3F62403}" dt="2024-09-06T00:00:39.497" v="5356" actId="478"/>
          <ac:grpSpMkLst>
            <pc:docMk/>
            <pc:sldMk cId="4013791146" sldId="262"/>
            <ac:grpSpMk id="12" creationId="{2E1428F6-0AA3-AD38-CF5C-4925904B8F6B}"/>
          </ac:grpSpMkLst>
        </pc:grpChg>
        <pc:grpChg chg="del">
          <ac:chgData name="Preskovvi .." userId="7c69300a0eb9d815" providerId="LiveId" clId="{31A119BB-21F2-4C39-BAF1-CD16B3F62403}" dt="2024-09-06T00:00:39.497" v="5356" actId="478"/>
          <ac:grpSpMkLst>
            <pc:docMk/>
            <pc:sldMk cId="4013791146" sldId="262"/>
            <ac:grpSpMk id="15" creationId="{39A35E14-124F-8D0C-1684-FFBB72084264}"/>
          </ac:grpSpMkLst>
        </pc:grpChg>
        <pc:grpChg chg="del">
          <ac:chgData name="Preskovvi .." userId="7c69300a0eb9d815" providerId="LiveId" clId="{31A119BB-21F2-4C39-BAF1-CD16B3F62403}" dt="2024-09-06T00:00:39.497" v="5356" actId="478"/>
          <ac:grpSpMkLst>
            <pc:docMk/>
            <pc:sldMk cId="4013791146" sldId="262"/>
            <ac:grpSpMk id="18" creationId="{0E4CE36E-1A31-6074-4D78-527528203230}"/>
          </ac:grpSpMkLst>
        </pc:grpChg>
        <pc:grpChg chg="del">
          <ac:chgData name="Preskovvi .." userId="7c69300a0eb9d815" providerId="LiveId" clId="{31A119BB-21F2-4C39-BAF1-CD16B3F62403}" dt="2024-09-06T00:00:39.497" v="5356" actId="478"/>
          <ac:grpSpMkLst>
            <pc:docMk/>
            <pc:sldMk cId="4013791146" sldId="262"/>
            <ac:grpSpMk id="21" creationId="{0F6CEC7F-9803-3B3F-1F61-8C110D51C289}"/>
          </ac:grpSpMkLst>
        </pc:grpChg>
        <pc:picChg chg="add mod">
          <ac:chgData name="Preskovvi .." userId="7c69300a0eb9d815" providerId="LiveId" clId="{31A119BB-21F2-4C39-BAF1-CD16B3F62403}" dt="2024-09-06T00:31:56.109" v="5709" actId="1076"/>
          <ac:picMkLst>
            <pc:docMk/>
            <pc:sldMk cId="4013791146" sldId="262"/>
            <ac:picMk id="32" creationId="{AA9F7418-763E-34EB-8AC3-0C985F162F27}"/>
          </ac:picMkLst>
        </pc:picChg>
        <pc:picChg chg="add mod">
          <ac:chgData name="Preskovvi .." userId="7c69300a0eb9d815" providerId="LiveId" clId="{31A119BB-21F2-4C39-BAF1-CD16B3F62403}" dt="2024-09-06T00:32:20.218" v="5712" actId="1076"/>
          <ac:picMkLst>
            <pc:docMk/>
            <pc:sldMk cId="4013791146" sldId="262"/>
            <ac:picMk id="4098" creationId="{3DB74F96-C3E9-CFD0-9557-27800ACA19A0}"/>
          </ac:picMkLst>
        </pc:picChg>
      </pc:sldChg>
      <pc:sldChg chg="addSp delSp modSp add mod modNotesTx">
        <pc:chgData name="Preskovvi .." userId="7c69300a0eb9d815" providerId="LiveId" clId="{31A119BB-21F2-4C39-BAF1-CD16B3F62403}" dt="2024-09-06T00:53:33.286" v="5982" actId="732"/>
        <pc:sldMkLst>
          <pc:docMk/>
          <pc:sldMk cId="447979817" sldId="263"/>
        </pc:sldMkLst>
        <pc:spChg chg="del">
          <ac:chgData name="Preskovvi .." userId="7c69300a0eb9d815" providerId="LiveId" clId="{31A119BB-21F2-4C39-BAF1-CD16B3F62403}" dt="2024-09-06T00:38:11.768" v="5851" actId="478"/>
          <ac:spMkLst>
            <pc:docMk/>
            <pc:sldMk cId="447979817" sldId="263"/>
            <ac:spMk id="3" creationId="{0C4A4B46-2953-EA02-6A11-0A8905FEF887}"/>
          </ac:spMkLst>
        </pc:spChg>
        <pc:spChg chg="mod ord">
          <ac:chgData name="Preskovvi .." userId="7c69300a0eb9d815" providerId="LiveId" clId="{31A119BB-21F2-4C39-BAF1-CD16B3F62403}" dt="2024-09-06T00:49:03.449" v="5953"/>
          <ac:spMkLst>
            <pc:docMk/>
            <pc:sldMk cId="447979817" sldId="263"/>
            <ac:spMk id="5" creationId="{B552AC29-4338-F4F9-B9AD-06C68BB68108}"/>
          </ac:spMkLst>
        </pc:spChg>
        <pc:spChg chg="del">
          <ac:chgData name="Preskovvi .." userId="7c69300a0eb9d815" providerId="LiveId" clId="{31A119BB-21F2-4C39-BAF1-CD16B3F62403}" dt="2024-09-06T00:38:11.768" v="5851" actId="478"/>
          <ac:spMkLst>
            <pc:docMk/>
            <pc:sldMk cId="447979817" sldId="263"/>
            <ac:spMk id="25" creationId="{E40719D7-D572-CB8D-C2B6-E7AC70C262B8}"/>
          </ac:spMkLst>
        </pc:spChg>
        <pc:spChg chg="del">
          <ac:chgData name="Preskovvi .." userId="7c69300a0eb9d815" providerId="LiveId" clId="{31A119BB-21F2-4C39-BAF1-CD16B3F62403}" dt="2024-09-06T00:38:11.768" v="5851" actId="478"/>
          <ac:spMkLst>
            <pc:docMk/>
            <pc:sldMk cId="447979817" sldId="263"/>
            <ac:spMk id="26" creationId="{AB8B3180-381E-D761-1B06-0D28FFA854F5}"/>
          </ac:spMkLst>
        </pc:spChg>
        <pc:spChg chg="del">
          <ac:chgData name="Preskovvi .." userId="7c69300a0eb9d815" providerId="LiveId" clId="{31A119BB-21F2-4C39-BAF1-CD16B3F62403}" dt="2024-09-06T00:38:11.768" v="5851" actId="478"/>
          <ac:spMkLst>
            <pc:docMk/>
            <pc:sldMk cId="447979817" sldId="263"/>
            <ac:spMk id="27" creationId="{966FA64A-969C-FA02-47D3-2B46FB11D81D}"/>
          </ac:spMkLst>
        </pc:spChg>
        <pc:spChg chg="del">
          <ac:chgData name="Preskovvi .." userId="7c69300a0eb9d815" providerId="LiveId" clId="{31A119BB-21F2-4C39-BAF1-CD16B3F62403}" dt="2024-09-06T00:38:11.768" v="5851" actId="478"/>
          <ac:spMkLst>
            <pc:docMk/>
            <pc:sldMk cId="447979817" sldId="263"/>
            <ac:spMk id="29" creationId="{B61C77FE-A5FD-C102-B4E4-7EDEB968A1CA}"/>
          </ac:spMkLst>
        </pc:spChg>
        <pc:spChg chg="del">
          <ac:chgData name="Preskovvi .." userId="7c69300a0eb9d815" providerId="LiveId" clId="{31A119BB-21F2-4C39-BAF1-CD16B3F62403}" dt="2024-09-06T00:38:11.768" v="5851" actId="478"/>
          <ac:spMkLst>
            <pc:docMk/>
            <pc:sldMk cId="447979817" sldId="263"/>
            <ac:spMk id="30" creationId="{E92136C2-74F8-2235-C813-5AB8399D982F}"/>
          </ac:spMkLst>
        </pc:spChg>
        <pc:graphicFrameChg chg="mod">
          <ac:chgData name="Preskovvi .." userId="7c69300a0eb9d815" providerId="LiveId" clId="{31A119BB-21F2-4C39-BAF1-CD16B3F62403}" dt="2024-09-06T00:49:03.454" v="5963"/>
          <ac:graphicFrameMkLst>
            <pc:docMk/>
            <pc:sldMk cId="447979817" sldId="263"/>
            <ac:graphicFrameMk id="4" creationId="{0952706A-05B4-CB56-EFB2-864C212EE24C}"/>
          </ac:graphicFrameMkLst>
        </pc:graphicFrameChg>
        <pc:picChg chg="add mod ord">
          <ac:chgData name="Preskovvi .." userId="7c69300a0eb9d815" providerId="LiveId" clId="{31A119BB-21F2-4C39-BAF1-CD16B3F62403}" dt="2024-09-06T00:49:03.449" v="5955"/>
          <ac:picMkLst>
            <pc:docMk/>
            <pc:sldMk cId="447979817" sldId="263"/>
            <ac:picMk id="6" creationId="{8B5E2474-5C43-BEE0-ED57-3BB9290AE2AF}"/>
          </ac:picMkLst>
        </pc:picChg>
        <pc:picChg chg="add mod ord">
          <ac:chgData name="Preskovvi .." userId="7c69300a0eb9d815" providerId="LiveId" clId="{31A119BB-21F2-4C39-BAF1-CD16B3F62403}" dt="2024-09-06T00:49:03.450" v="5957"/>
          <ac:picMkLst>
            <pc:docMk/>
            <pc:sldMk cId="447979817" sldId="263"/>
            <ac:picMk id="8" creationId="{747746D7-B292-7EFE-A805-5C253E6E773A}"/>
          </ac:picMkLst>
        </pc:picChg>
        <pc:picChg chg="add mod ord">
          <ac:chgData name="Preskovvi .." userId="7c69300a0eb9d815" providerId="LiveId" clId="{31A119BB-21F2-4C39-BAF1-CD16B3F62403}" dt="2024-09-06T00:49:03.451" v="5959"/>
          <ac:picMkLst>
            <pc:docMk/>
            <pc:sldMk cId="447979817" sldId="263"/>
            <ac:picMk id="10" creationId="{D460EAE0-A251-EDFF-BAE1-6C771016DBCC}"/>
          </ac:picMkLst>
        </pc:picChg>
        <pc:picChg chg="add mod ord">
          <ac:chgData name="Preskovvi .." userId="7c69300a0eb9d815" providerId="LiveId" clId="{31A119BB-21F2-4C39-BAF1-CD16B3F62403}" dt="2024-09-06T00:49:03.451" v="5961"/>
          <ac:picMkLst>
            <pc:docMk/>
            <pc:sldMk cId="447979817" sldId="263"/>
            <ac:picMk id="12" creationId="{A32505E8-8C07-28F3-D426-2198B364F458}"/>
          </ac:picMkLst>
        </pc:picChg>
        <pc:picChg chg="del">
          <ac:chgData name="Preskovvi .." userId="7c69300a0eb9d815" providerId="LiveId" clId="{31A119BB-21F2-4C39-BAF1-CD16B3F62403}" dt="2024-09-06T00:38:11.768" v="5851" actId="478"/>
          <ac:picMkLst>
            <pc:docMk/>
            <pc:sldMk cId="447979817" sldId="263"/>
            <ac:picMk id="32" creationId="{AA9F7418-763E-34EB-8AC3-0C985F162F27}"/>
          </ac:picMkLst>
        </pc:picChg>
        <pc:picChg chg="del">
          <ac:chgData name="Preskovvi .." userId="7c69300a0eb9d815" providerId="LiveId" clId="{31A119BB-21F2-4C39-BAF1-CD16B3F62403}" dt="2024-09-06T00:38:11.768" v="5851" actId="478"/>
          <ac:picMkLst>
            <pc:docMk/>
            <pc:sldMk cId="447979817" sldId="263"/>
            <ac:picMk id="4098" creationId="{3DB74F96-C3E9-CFD0-9557-27800ACA19A0}"/>
          </ac:picMkLst>
        </pc:picChg>
        <pc:picChg chg="add del mod">
          <ac:chgData name="Preskovvi .." userId="7c69300a0eb9d815" providerId="LiveId" clId="{31A119BB-21F2-4C39-BAF1-CD16B3F62403}" dt="2024-09-06T00:52:39.693" v="5972" actId="478"/>
          <ac:picMkLst>
            <pc:docMk/>
            <pc:sldMk cId="447979817" sldId="263"/>
            <ac:picMk id="6146" creationId="{263D1261-CDF2-97F1-AC65-F183D975CA52}"/>
          </ac:picMkLst>
        </pc:picChg>
        <pc:picChg chg="add mod">
          <ac:chgData name="Preskovvi .." userId="7c69300a0eb9d815" providerId="LiveId" clId="{31A119BB-21F2-4C39-BAF1-CD16B3F62403}" dt="2024-09-06T00:53:33.286" v="5982" actId="732"/>
          <ac:picMkLst>
            <pc:docMk/>
            <pc:sldMk cId="447979817" sldId="263"/>
            <ac:picMk id="6148" creationId="{17DF7FC6-90C2-EBD4-4E82-90569F289305}"/>
          </ac:picMkLst>
        </pc:picChg>
      </pc:sldChg>
      <pc:sldChg chg="addSp delSp modSp add mod">
        <pc:chgData name="Preskovvi .." userId="7c69300a0eb9d815" providerId="LiveId" clId="{31A119BB-21F2-4C39-BAF1-CD16B3F62403}" dt="2024-09-06T08:36:33.868" v="6747" actId="113"/>
        <pc:sldMkLst>
          <pc:docMk/>
          <pc:sldMk cId="4240996073" sldId="264"/>
        </pc:sldMkLst>
        <pc:spChg chg="mod">
          <ac:chgData name="Preskovvi .." userId="7c69300a0eb9d815" providerId="LiveId" clId="{31A119BB-21F2-4C39-BAF1-CD16B3F62403}" dt="2024-09-06T00:57:15.844" v="6005"/>
          <ac:spMkLst>
            <pc:docMk/>
            <pc:sldMk cId="4240996073" sldId="264"/>
            <ac:spMk id="5" creationId="{B552AC29-4338-F4F9-B9AD-06C68BB68108}"/>
          </ac:spMkLst>
        </pc:spChg>
        <pc:spChg chg="add mod">
          <ac:chgData name="Preskovvi .." userId="7c69300a0eb9d815" providerId="LiveId" clId="{31A119BB-21F2-4C39-BAF1-CD16B3F62403}" dt="2024-09-06T08:36:33.868" v="6747" actId="113"/>
          <ac:spMkLst>
            <pc:docMk/>
            <pc:sldMk cId="4240996073" sldId="264"/>
            <ac:spMk id="16" creationId="{FFA02833-D9D7-53B7-F106-FC105D3FCC13}"/>
          </ac:spMkLst>
        </pc:spChg>
        <pc:picChg chg="add del mod">
          <ac:chgData name="Preskovvi .." userId="7c69300a0eb9d815" providerId="LiveId" clId="{31A119BB-21F2-4C39-BAF1-CD16B3F62403}" dt="2024-09-06T00:54:48.538" v="5990" actId="478"/>
          <ac:picMkLst>
            <pc:docMk/>
            <pc:sldMk cId="4240996073" sldId="264"/>
            <ac:picMk id="2" creationId="{D3D66BBA-C340-BCC0-1D35-F8EAD6FBBCFD}"/>
          </ac:picMkLst>
        </pc:picChg>
        <pc:picChg chg="del">
          <ac:chgData name="Preskovvi .." userId="7c69300a0eb9d815" providerId="LiveId" clId="{31A119BB-21F2-4C39-BAF1-CD16B3F62403}" dt="2024-09-06T00:54:23.431" v="5984" actId="478"/>
          <ac:picMkLst>
            <pc:docMk/>
            <pc:sldMk cId="4240996073" sldId="264"/>
            <ac:picMk id="6" creationId="{8B5E2474-5C43-BEE0-ED57-3BB9290AE2AF}"/>
          </ac:picMkLst>
        </pc:picChg>
        <pc:picChg chg="add del mod">
          <ac:chgData name="Preskovvi .." userId="7c69300a0eb9d815" providerId="LiveId" clId="{31A119BB-21F2-4C39-BAF1-CD16B3F62403}" dt="2024-09-06T01:25:42.782" v="6236" actId="478"/>
          <ac:picMkLst>
            <pc:docMk/>
            <pc:sldMk cId="4240996073" sldId="264"/>
            <ac:picMk id="7" creationId="{2506860A-FAF7-D470-442F-36CF879F202A}"/>
          </ac:picMkLst>
        </pc:picChg>
        <pc:picChg chg="del">
          <ac:chgData name="Preskovvi .." userId="7c69300a0eb9d815" providerId="LiveId" clId="{31A119BB-21F2-4C39-BAF1-CD16B3F62403}" dt="2024-09-06T00:54:23.431" v="5984" actId="478"/>
          <ac:picMkLst>
            <pc:docMk/>
            <pc:sldMk cId="4240996073" sldId="264"/>
            <ac:picMk id="8" creationId="{747746D7-B292-7EFE-A805-5C253E6E773A}"/>
          </ac:picMkLst>
        </pc:picChg>
        <pc:picChg chg="del">
          <ac:chgData name="Preskovvi .." userId="7c69300a0eb9d815" providerId="LiveId" clId="{31A119BB-21F2-4C39-BAF1-CD16B3F62403}" dt="2024-09-06T00:54:23.431" v="5984" actId="478"/>
          <ac:picMkLst>
            <pc:docMk/>
            <pc:sldMk cId="4240996073" sldId="264"/>
            <ac:picMk id="10" creationId="{D460EAE0-A251-EDFF-BAE1-6C771016DBCC}"/>
          </ac:picMkLst>
        </pc:picChg>
        <pc:picChg chg="add del mod">
          <ac:chgData name="Preskovvi .." userId="7c69300a0eb9d815" providerId="LiveId" clId="{31A119BB-21F2-4C39-BAF1-CD16B3F62403}" dt="2024-09-06T01:26:09.500" v="6239" actId="478"/>
          <ac:picMkLst>
            <pc:docMk/>
            <pc:sldMk cId="4240996073" sldId="264"/>
            <ac:picMk id="11" creationId="{1D7DDED6-C638-9790-DA38-7E6320C00E8A}"/>
          </ac:picMkLst>
        </pc:picChg>
        <pc:picChg chg="del">
          <ac:chgData name="Preskovvi .." userId="7c69300a0eb9d815" providerId="LiveId" clId="{31A119BB-21F2-4C39-BAF1-CD16B3F62403}" dt="2024-09-06T00:54:23.431" v="5984" actId="478"/>
          <ac:picMkLst>
            <pc:docMk/>
            <pc:sldMk cId="4240996073" sldId="264"/>
            <ac:picMk id="12" creationId="{A32505E8-8C07-28F3-D426-2198B364F458}"/>
          </ac:picMkLst>
        </pc:picChg>
        <pc:picChg chg="add mod">
          <ac:chgData name="Preskovvi .." userId="7c69300a0eb9d815" providerId="LiveId" clId="{31A119BB-21F2-4C39-BAF1-CD16B3F62403}" dt="2024-09-06T01:26:25.069" v="6242" actId="1076"/>
          <ac:picMkLst>
            <pc:docMk/>
            <pc:sldMk cId="4240996073" sldId="264"/>
            <ac:picMk id="14" creationId="{C38DF71E-248E-942E-D897-8129D71FFB9C}"/>
          </ac:picMkLst>
        </pc:picChg>
        <pc:picChg chg="del">
          <ac:chgData name="Preskovvi .." userId="7c69300a0eb9d815" providerId="LiveId" clId="{31A119BB-21F2-4C39-BAF1-CD16B3F62403}" dt="2024-09-06T00:54:23.431" v="5984" actId="478"/>
          <ac:picMkLst>
            <pc:docMk/>
            <pc:sldMk cId="4240996073" sldId="264"/>
            <ac:picMk id="6148" creationId="{17DF7FC6-90C2-EBD4-4E82-90569F289305}"/>
          </ac:picMkLst>
        </pc:picChg>
      </pc:sldChg>
      <pc:sldChg chg="addSp delSp modSp add mod">
        <pc:chgData name="Preskovvi .." userId="7c69300a0eb9d815" providerId="LiveId" clId="{31A119BB-21F2-4C39-BAF1-CD16B3F62403}" dt="2024-09-06T08:17:09.910" v="6620" actId="1036"/>
        <pc:sldMkLst>
          <pc:docMk/>
          <pc:sldMk cId="1585162861" sldId="265"/>
        </pc:sldMkLst>
        <pc:spChg chg="add mod">
          <ac:chgData name="Preskovvi .." userId="7c69300a0eb9d815" providerId="LiveId" clId="{31A119BB-21F2-4C39-BAF1-CD16B3F62403}" dt="2024-09-06T08:16:58.406" v="6608" actId="14100"/>
          <ac:spMkLst>
            <pc:docMk/>
            <pc:sldMk cId="1585162861" sldId="265"/>
            <ac:spMk id="3" creationId="{30A189B2-7F5E-A7BC-EB26-0B99E530C575}"/>
          </ac:spMkLst>
        </pc:spChg>
        <pc:spChg chg="del">
          <ac:chgData name="Preskovvi .." userId="7c69300a0eb9d815" providerId="LiveId" clId="{31A119BB-21F2-4C39-BAF1-CD16B3F62403}" dt="2024-09-06T01:58:34.913" v="6356" actId="478"/>
          <ac:spMkLst>
            <pc:docMk/>
            <pc:sldMk cId="1585162861" sldId="265"/>
            <ac:spMk id="5" creationId="{B552AC29-4338-F4F9-B9AD-06C68BB68108}"/>
          </ac:spMkLst>
        </pc:spChg>
        <pc:spChg chg="add del mod">
          <ac:chgData name="Preskovvi .." userId="7c69300a0eb9d815" providerId="LiveId" clId="{31A119BB-21F2-4C39-BAF1-CD16B3F62403}" dt="2024-09-06T08:15:56.988" v="6600" actId="478"/>
          <ac:spMkLst>
            <pc:docMk/>
            <pc:sldMk cId="1585162861" sldId="265"/>
            <ac:spMk id="6" creationId="{4B1A64FB-CC0A-FD0E-E3AF-76F49EC6851A}"/>
          </ac:spMkLst>
        </pc:spChg>
        <pc:spChg chg="add mod">
          <ac:chgData name="Preskovvi .." userId="7c69300a0eb9d815" providerId="LiveId" clId="{31A119BB-21F2-4C39-BAF1-CD16B3F62403}" dt="2024-09-06T08:17:09.910" v="6620" actId="1036"/>
          <ac:spMkLst>
            <pc:docMk/>
            <pc:sldMk cId="1585162861" sldId="265"/>
            <ac:spMk id="8" creationId="{AAEC7EF6-348D-FBA8-8D82-ACF7BB8FD94D}"/>
          </ac:spMkLst>
        </pc:spChg>
        <pc:spChg chg="mod">
          <ac:chgData name="Preskovvi .." userId="7c69300a0eb9d815" providerId="LiveId" clId="{31A119BB-21F2-4C39-BAF1-CD16B3F62403}" dt="2024-09-06T08:15:57.930" v="6601"/>
          <ac:spMkLst>
            <pc:docMk/>
            <pc:sldMk cId="1585162861" sldId="265"/>
            <ac:spMk id="11" creationId="{BA433E7D-BBCF-4C4D-ECC7-4C6BFF03C7A8}"/>
          </ac:spMkLst>
        </pc:spChg>
        <pc:spChg chg="mod">
          <ac:chgData name="Preskovvi .." userId="7c69300a0eb9d815" providerId="LiveId" clId="{31A119BB-21F2-4C39-BAF1-CD16B3F62403}" dt="2024-09-06T08:16:12.572" v="6603"/>
          <ac:spMkLst>
            <pc:docMk/>
            <pc:sldMk cId="1585162861" sldId="265"/>
            <ac:spMk id="14" creationId="{6D729CE3-3735-6490-2957-0C8A51D59F0E}"/>
          </ac:spMkLst>
        </pc:spChg>
        <pc:spChg chg="mod">
          <ac:chgData name="Preskovvi .." userId="7c69300a0eb9d815" providerId="LiveId" clId="{31A119BB-21F2-4C39-BAF1-CD16B3F62403}" dt="2024-09-06T08:16:27.385" v="6605"/>
          <ac:spMkLst>
            <pc:docMk/>
            <pc:sldMk cId="1585162861" sldId="265"/>
            <ac:spMk id="17" creationId="{02D16455-9E09-C1BA-4E98-94AC3DB1375C}"/>
          </ac:spMkLst>
        </pc:spChg>
        <pc:spChg chg="add mod">
          <ac:chgData name="Preskovvi .." userId="7c69300a0eb9d815" providerId="LiveId" clId="{31A119BB-21F2-4C39-BAF1-CD16B3F62403}" dt="2024-09-06T08:16:37.810" v="6607" actId="20577"/>
          <ac:spMkLst>
            <pc:docMk/>
            <pc:sldMk cId="1585162861" sldId="265"/>
            <ac:spMk id="18" creationId="{56C180D7-E7DA-78BB-E088-8D242958D3C7}"/>
          </ac:spMkLst>
        </pc:spChg>
        <pc:grpChg chg="add del mod">
          <ac:chgData name="Preskovvi .." userId="7c69300a0eb9d815" providerId="LiveId" clId="{31A119BB-21F2-4C39-BAF1-CD16B3F62403}" dt="2024-09-06T08:16:11.304" v="6602" actId="478"/>
          <ac:grpSpMkLst>
            <pc:docMk/>
            <pc:sldMk cId="1585162861" sldId="265"/>
            <ac:grpSpMk id="9" creationId="{E29D67C6-7F7F-5247-DC18-4FB9CF5CE145}"/>
          </ac:grpSpMkLst>
        </pc:grpChg>
        <pc:grpChg chg="add del mod">
          <ac:chgData name="Preskovvi .." userId="7c69300a0eb9d815" providerId="LiveId" clId="{31A119BB-21F2-4C39-BAF1-CD16B3F62403}" dt="2024-09-06T08:16:15.735" v="6604" actId="478"/>
          <ac:grpSpMkLst>
            <pc:docMk/>
            <pc:sldMk cId="1585162861" sldId="265"/>
            <ac:grpSpMk id="12" creationId="{2BF8DB54-D3A2-827A-1FFD-A71BF03EAB7B}"/>
          </ac:grpSpMkLst>
        </pc:grpChg>
        <pc:grpChg chg="add mod">
          <ac:chgData name="Preskovvi .." userId="7c69300a0eb9d815" providerId="LiveId" clId="{31A119BB-21F2-4C39-BAF1-CD16B3F62403}" dt="2024-09-06T08:16:32.688" v="6606" actId="1076"/>
          <ac:grpSpMkLst>
            <pc:docMk/>
            <pc:sldMk cId="1585162861" sldId="265"/>
            <ac:grpSpMk id="15" creationId="{17D21B8A-93D3-FC82-BB58-1650803EA2A0}"/>
          </ac:grpSpMkLst>
        </pc:grpChg>
        <pc:picChg chg="add del mod">
          <ac:chgData name="Preskovvi .." userId="7c69300a0eb9d815" providerId="LiveId" clId="{31A119BB-21F2-4C39-BAF1-CD16B3F62403}" dt="2024-09-06T08:15:38.478" v="6597" actId="1076"/>
          <ac:picMkLst>
            <pc:docMk/>
            <pc:sldMk cId="1585162861" sldId="265"/>
            <ac:picMk id="2" creationId="{D3D66BBA-C340-BCC0-1D35-F8EAD6FBBCFD}"/>
          </ac:picMkLst>
        </pc:picChg>
        <pc:picChg chg="mod">
          <ac:chgData name="Preskovvi .." userId="7c69300a0eb9d815" providerId="LiveId" clId="{31A119BB-21F2-4C39-BAF1-CD16B3F62403}" dt="2024-09-06T08:15:57.930" v="6601"/>
          <ac:picMkLst>
            <pc:docMk/>
            <pc:sldMk cId="1585162861" sldId="265"/>
            <ac:picMk id="10" creationId="{5624B422-9DB8-4F08-7292-B37EB9A01929}"/>
          </ac:picMkLst>
        </pc:picChg>
        <pc:picChg chg="mod">
          <ac:chgData name="Preskovvi .." userId="7c69300a0eb9d815" providerId="LiveId" clId="{31A119BB-21F2-4C39-BAF1-CD16B3F62403}" dt="2024-09-06T08:16:12.572" v="6603"/>
          <ac:picMkLst>
            <pc:docMk/>
            <pc:sldMk cId="1585162861" sldId="265"/>
            <ac:picMk id="13" creationId="{0269C576-8A70-9EDA-7CAB-F656138BB38E}"/>
          </ac:picMkLst>
        </pc:picChg>
        <pc:picChg chg="mod">
          <ac:chgData name="Preskovvi .." userId="7c69300a0eb9d815" providerId="LiveId" clId="{31A119BB-21F2-4C39-BAF1-CD16B3F62403}" dt="2024-09-06T08:16:27.385" v="6605"/>
          <ac:picMkLst>
            <pc:docMk/>
            <pc:sldMk cId="1585162861" sldId="265"/>
            <ac:picMk id="16" creationId="{153091CE-62FA-1992-2B7B-F780A286C98C}"/>
          </ac:picMkLst>
        </pc:picChg>
      </pc:sldChg>
      <pc:sldChg chg="addSp modSp add mod ord">
        <pc:chgData name="Preskovvi .." userId="7c69300a0eb9d815" providerId="LiveId" clId="{31A119BB-21F2-4C39-BAF1-CD16B3F62403}" dt="2024-09-06T08:21:29.459" v="6642" actId="207"/>
        <pc:sldMkLst>
          <pc:docMk/>
          <pc:sldMk cId="3079076454" sldId="266"/>
        </pc:sldMkLst>
        <pc:spChg chg="mod">
          <ac:chgData name="Preskovvi .." userId="7c69300a0eb9d815" providerId="LiveId" clId="{31A119BB-21F2-4C39-BAF1-CD16B3F62403}" dt="2024-09-06T01:21:35.758" v="6156"/>
          <ac:spMkLst>
            <pc:docMk/>
            <pc:sldMk cId="3079076454" sldId="266"/>
            <ac:spMk id="5" creationId="{B552AC29-4338-F4F9-B9AD-06C68BB68108}"/>
          </ac:spMkLst>
        </pc:spChg>
        <pc:spChg chg="add mod">
          <ac:chgData name="Preskovvi .." userId="7c69300a0eb9d815" providerId="LiveId" clId="{31A119BB-21F2-4C39-BAF1-CD16B3F62403}" dt="2024-09-06T08:21:29.459" v="6642" actId="207"/>
          <ac:spMkLst>
            <pc:docMk/>
            <pc:sldMk cId="3079076454" sldId="266"/>
            <ac:spMk id="16" creationId="{8F57B381-97C0-DA0D-2AE5-733BD71E7509}"/>
          </ac:spMkLst>
        </pc:spChg>
        <pc:picChg chg="add mod">
          <ac:chgData name="Preskovvi .." userId="7c69300a0eb9d815" providerId="LiveId" clId="{31A119BB-21F2-4C39-BAF1-CD16B3F62403}" dt="2024-09-06T01:21:19.888" v="6155" actId="553"/>
          <ac:picMkLst>
            <pc:docMk/>
            <pc:sldMk cId="3079076454" sldId="266"/>
            <ac:picMk id="3" creationId="{866C514E-4C08-AAEF-837C-F371A2A0AD3C}"/>
          </ac:picMkLst>
        </pc:picChg>
        <pc:picChg chg="add mod">
          <ac:chgData name="Preskovvi .." userId="7c69300a0eb9d815" providerId="LiveId" clId="{31A119BB-21F2-4C39-BAF1-CD16B3F62403}" dt="2024-09-06T01:20:46.058" v="6153" actId="1035"/>
          <ac:picMkLst>
            <pc:docMk/>
            <pc:sldMk cId="3079076454" sldId="266"/>
            <ac:picMk id="7" creationId="{BF98F4F1-B8A5-872C-DFFD-4D35D3BB707B}"/>
          </ac:picMkLst>
        </pc:picChg>
        <pc:picChg chg="add mod">
          <ac:chgData name="Preskovvi .." userId="7c69300a0eb9d815" providerId="LiveId" clId="{31A119BB-21F2-4C39-BAF1-CD16B3F62403}" dt="2024-09-06T01:21:19.888" v="6155" actId="553"/>
          <ac:picMkLst>
            <pc:docMk/>
            <pc:sldMk cId="3079076454" sldId="266"/>
            <ac:picMk id="9" creationId="{3C082CA3-8146-16CF-B29A-95C9FC96D64C}"/>
          </ac:picMkLst>
        </pc:picChg>
        <pc:picChg chg="add mod">
          <ac:chgData name="Preskovvi .." userId="7c69300a0eb9d815" providerId="LiveId" clId="{31A119BB-21F2-4C39-BAF1-CD16B3F62403}" dt="2024-09-06T01:20:05.685" v="6111" actId="14100"/>
          <ac:picMkLst>
            <pc:docMk/>
            <pc:sldMk cId="3079076454" sldId="266"/>
            <ac:picMk id="11" creationId="{9B54CE20-6F7D-3D79-44B4-3EAAACA49F80}"/>
          </ac:picMkLst>
        </pc:picChg>
        <pc:picChg chg="add mod">
          <ac:chgData name="Preskovvi .." userId="7c69300a0eb9d815" providerId="LiveId" clId="{31A119BB-21F2-4C39-BAF1-CD16B3F62403}" dt="2024-09-06T01:20:56.414" v="6154" actId="553"/>
          <ac:picMkLst>
            <pc:docMk/>
            <pc:sldMk cId="3079076454" sldId="266"/>
            <ac:picMk id="13" creationId="{0FD361A6-26FA-96D3-87F5-0BB537DE5621}"/>
          </ac:picMkLst>
        </pc:picChg>
        <pc:picChg chg="add mod">
          <ac:chgData name="Preskovvi .." userId="7c69300a0eb9d815" providerId="LiveId" clId="{31A119BB-21F2-4C39-BAF1-CD16B3F62403}" dt="2024-09-06T01:20:56.414" v="6154" actId="553"/>
          <ac:picMkLst>
            <pc:docMk/>
            <pc:sldMk cId="3079076454" sldId="266"/>
            <ac:picMk id="15" creationId="{141AEB6C-1D67-BC03-E7B3-C2F4A7061C8A}"/>
          </ac:picMkLst>
        </pc:picChg>
      </pc:sldChg>
      <pc:sldChg chg="addSp delSp modSp add mod modAnim modNotesTx">
        <pc:chgData name="Preskovvi .." userId="7c69300a0eb9d815" providerId="LiveId" clId="{31A119BB-21F2-4C39-BAF1-CD16B3F62403}" dt="2024-09-06T08:25:45.541" v="6668" actId="113"/>
        <pc:sldMkLst>
          <pc:docMk/>
          <pc:sldMk cId="4258728644" sldId="267"/>
        </pc:sldMkLst>
        <pc:spChg chg="add mod">
          <ac:chgData name="Preskovvi .." userId="7c69300a0eb9d815" providerId="LiveId" clId="{31A119BB-21F2-4C39-BAF1-CD16B3F62403}" dt="2024-09-06T08:25:45.541" v="6668" actId="113"/>
          <ac:spMkLst>
            <pc:docMk/>
            <pc:sldMk cId="4258728644" sldId="267"/>
            <ac:spMk id="3" creationId="{BE7E9E69-91B1-26A3-3C81-DB4E1B101762}"/>
          </ac:spMkLst>
        </pc:spChg>
        <pc:spChg chg="mod">
          <ac:chgData name="Preskovvi .." userId="7c69300a0eb9d815" providerId="LiveId" clId="{31A119BB-21F2-4C39-BAF1-CD16B3F62403}" dt="2024-09-06T01:57:57.635" v="6354"/>
          <ac:spMkLst>
            <pc:docMk/>
            <pc:sldMk cId="4258728644" sldId="267"/>
            <ac:spMk id="5" creationId="{B552AC29-4338-F4F9-B9AD-06C68BB68108}"/>
          </ac:spMkLst>
        </pc:spChg>
        <pc:spChg chg="add del">
          <ac:chgData name="Preskovvi .." userId="7c69300a0eb9d815" providerId="LiveId" clId="{31A119BB-21F2-4C39-BAF1-CD16B3F62403}" dt="2024-09-06T01:47:23.534" v="6318" actId="478"/>
          <ac:spMkLst>
            <pc:docMk/>
            <pc:sldMk cId="4258728644" sldId="267"/>
            <ac:spMk id="6" creationId="{1911E785-C187-81C3-2A8C-89B370F7D73C}"/>
          </ac:spMkLst>
        </pc:spChg>
        <pc:spChg chg="add mod">
          <ac:chgData name="Preskovvi .." userId="7c69300a0eb9d815" providerId="LiveId" clId="{31A119BB-21F2-4C39-BAF1-CD16B3F62403}" dt="2024-09-06T08:24:39.976" v="6650" actId="14100"/>
          <ac:spMkLst>
            <pc:docMk/>
            <pc:sldMk cId="4258728644" sldId="267"/>
            <ac:spMk id="7" creationId="{8412A8F2-C78B-BEEC-AD9B-EB7058D6BA0F}"/>
          </ac:spMkLst>
        </pc:spChg>
        <pc:spChg chg="del">
          <ac:chgData name="Preskovvi .." userId="7c69300a0eb9d815" providerId="LiveId" clId="{31A119BB-21F2-4C39-BAF1-CD16B3F62403}" dt="2024-09-06T01:34:29.026" v="6302" actId="478"/>
          <ac:spMkLst>
            <pc:docMk/>
            <pc:sldMk cId="4258728644" sldId="267"/>
            <ac:spMk id="16" creationId="{FFA02833-D9D7-53B7-F106-FC105D3FCC13}"/>
          </ac:spMkLst>
        </pc:spChg>
        <pc:picChg chg="del">
          <ac:chgData name="Preskovvi .." userId="7c69300a0eb9d815" providerId="LiveId" clId="{31A119BB-21F2-4C39-BAF1-CD16B3F62403}" dt="2024-09-06T01:34:29.026" v="6302" actId="478"/>
          <ac:picMkLst>
            <pc:docMk/>
            <pc:sldMk cId="4258728644" sldId="267"/>
            <ac:picMk id="14" creationId="{C38DF71E-248E-942E-D897-8129D71FFB9C}"/>
          </ac:picMkLst>
        </pc:picChg>
        <pc:picChg chg="add del mod">
          <ac:chgData name="Preskovvi .." userId="7c69300a0eb9d815" providerId="LiveId" clId="{31A119BB-21F2-4C39-BAF1-CD16B3F62403}" dt="2024-09-06T01:51:30.971" v="6343" actId="478"/>
          <ac:picMkLst>
            <pc:docMk/>
            <pc:sldMk cId="4258728644" sldId="267"/>
            <ac:picMk id="7171" creationId="{9BFCC1C3-DF52-51E8-DB9E-F2EB7B6FFA1C}"/>
          </ac:picMkLst>
        </pc:picChg>
        <pc:picChg chg="add del mod">
          <ac:chgData name="Preskovvi .." userId="7c69300a0eb9d815" providerId="LiveId" clId="{31A119BB-21F2-4C39-BAF1-CD16B3F62403}" dt="2024-09-06T01:56:59.050" v="6346" actId="478"/>
          <ac:picMkLst>
            <pc:docMk/>
            <pc:sldMk cId="4258728644" sldId="267"/>
            <ac:picMk id="7173" creationId="{83E69F38-389F-D883-C197-B802AFF2885E}"/>
          </ac:picMkLst>
        </pc:picChg>
        <pc:picChg chg="add del mod">
          <ac:chgData name="Preskovvi .." userId="7c69300a0eb9d815" providerId="LiveId" clId="{31A119BB-21F2-4C39-BAF1-CD16B3F62403}" dt="2024-09-06T01:57:13.722" v="6348" actId="478"/>
          <ac:picMkLst>
            <pc:docMk/>
            <pc:sldMk cId="4258728644" sldId="267"/>
            <ac:picMk id="7175" creationId="{F55A6358-50C4-3E29-1021-39DDCC3B5F91}"/>
          </ac:picMkLst>
        </pc:picChg>
        <pc:picChg chg="add del mod">
          <ac:chgData name="Preskovvi .." userId="7c69300a0eb9d815" providerId="LiveId" clId="{31A119BB-21F2-4C39-BAF1-CD16B3F62403}" dt="2024-09-06T08:24:23.226" v="6643" actId="478"/>
          <ac:picMkLst>
            <pc:docMk/>
            <pc:sldMk cId="4258728644" sldId="267"/>
            <ac:picMk id="7177" creationId="{3B7FA85E-6754-EDBD-73C5-7E9F860D01A8}"/>
          </ac:picMkLst>
        </pc:picChg>
      </pc:sldChg>
      <pc:sldChg chg="addSp delSp modSp add mod ord modAnim">
        <pc:chgData name="Preskovvi .." userId="7c69300a0eb9d815" providerId="LiveId" clId="{31A119BB-21F2-4C39-BAF1-CD16B3F62403}" dt="2024-09-06T08:20:49.166" v="6641"/>
        <pc:sldMkLst>
          <pc:docMk/>
          <pc:sldMk cId="565043827" sldId="268"/>
        </pc:sldMkLst>
        <pc:spChg chg="add mod">
          <ac:chgData name="Preskovvi .." userId="7c69300a0eb9d815" providerId="LiveId" clId="{31A119BB-21F2-4C39-BAF1-CD16B3F62403}" dt="2024-09-06T08:11:14.164" v="6567" actId="1038"/>
          <ac:spMkLst>
            <pc:docMk/>
            <pc:sldMk cId="565043827" sldId="268"/>
            <ac:spMk id="3" creationId="{DECDDDA8-BA2C-6CDA-3BC0-A867EDE6BE79}"/>
          </ac:spMkLst>
        </pc:spChg>
        <pc:spChg chg="add mod">
          <ac:chgData name="Preskovvi .." userId="7c69300a0eb9d815" providerId="LiveId" clId="{31A119BB-21F2-4C39-BAF1-CD16B3F62403}" dt="2024-09-06T08:11:14.164" v="6567" actId="1038"/>
          <ac:spMkLst>
            <pc:docMk/>
            <pc:sldMk cId="565043827" sldId="268"/>
            <ac:spMk id="10" creationId="{072A0A29-DFFF-DF37-5ADF-1E5F50818CFF}"/>
          </ac:spMkLst>
        </pc:spChg>
        <pc:spChg chg="add del mod">
          <ac:chgData name="Preskovvi .." userId="7c69300a0eb9d815" providerId="LiveId" clId="{31A119BB-21F2-4C39-BAF1-CD16B3F62403}" dt="2024-09-06T07:56:04.482" v="6427"/>
          <ac:spMkLst>
            <pc:docMk/>
            <pc:sldMk cId="565043827" sldId="268"/>
            <ac:spMk id="11" creationId="{652E57B1-3309-4EA3-6CE1-F585CB981DFA}"/>
          </ac:spMkLst>
        </pc:spChg>
        <pc:spChg chg="add mod">
          <ac:chgData name="Preskovvi .." userId="7c69300a0eb9d815" providerId="LiveId" clId="{31A119BB-21F2-4C39-BAF1-CD16B3F62403}" dt="2024-09-06T08:11:14.164" v="6567" actId="1038"/>
          <ac:spMkLst>
            <pc:docMk/>
            <pc:sldMk cId="565043827" sldId="268"/>
            <ac:spMk id="15" creationId="{55944E6D-0942-F6CB-2E9E-EA61B47122CA}"/>
          </ac:spMkLst>
        </pc:spChg>
        <pc:spChg chg="add mod">
          <ac:chgData name="Preskovvi .." userId="7c69300a0eb9d815" providerId="LiveId" clId="{31A119BB-21F2-4C39-BAF1-CD16B3F62403}" dt="2024-09-06T08:11:14.164" v="6567" actId="1038"/>
          <ac:spMkLst>
            <pc:docMk/>
            <pc:sldMk cId="565043827" sldId="268"/>
            <ac:spMk id="16" creationId="{39B6C04C-A6AE-9949-7021-8BC8083B575B}"/>
          </ac:spMkLst>
        </pc:spChg>
        <pc:spChg chg="add mod">
          <ac:chgData name="Preskovvi .." userId="7c69300a0eb9d815" providerId="LiveId" clId="{31A119BB-21F2-4C39-BAF1-CD16B3F62403}" dt="2024-09-06T08:01:25.591" v="6449"/>
          <ac:spMkLst>
            <pc:docMk/>
            <pc:sldMk cId="565043827" sldId="268"/>
            <ac:spMk id="17" creationId="{C47B17F4-09BD-F1DE-6DF1-07CE19BC0F89}"/>
          </ac:spMkLst>
        </pc:spChg>
        <pc:spChg chg="del">
          <ac:chgData name="Preskovvi .." userId="7c69300a0eb9d815" providerId="LiveId" clId="{31A119BB-21F2-4C39-BAF1-CD16B3F62403}" dt="2024-09-06T07:37:57.793" v="6383" actId="478"/>
          <ac:spMkLst>
            <pc:docMk/>
            <pc:sldMk cId="565043827" sldId="268"/>
            <ac:spMk id="24" creationId="{75B9A570-7CD7-C46E-05B7-B7FCAEFA783A}"/>
          </ac:spMkLst>
        </pc:spChg>
        <pc:spChg chg="add del mod">
          <ac:chgData name="Preskovvi .." userId="7c69300a0eb9d815" providerId="LiveId" clId="{31A119BB-21F2-4C39-BAF1-CD16B3F62403}" dt="2024-09-06T08:01:34.788" v="6451" actId="478"/>
          <ac:spMkLst>
            <pc:docMk/>
            <pc:sldMk cId="565043827" sldId="268"/>
            <ac:spMk id="25" creationId="{A637DFD7-43DD-0FAA-8939-28EB36B1A9B6}"/>
          </ac:spMkLst>
        </pc:spChg>
        <pc:spChg chg="add del">
          <ac:chgData name="Preskovvi .." userId="7c69300a0eb9d815" providerId="LiveId" clId="{31A119BB-21F2-4C39-BAF1-CD16B3F62403}" dt="2024-09-06T08:01:44.638" v="6453" actId="478"/>
          <ac:spMkLst>
            <pc:docMk/>
            <pc:sldMk cId="565043827" sldId="268"/>
            <ac:spMk id="27" creationId="{A014D5DE-2DBE-7E6C-68C3-2F3EFA30C7BB}"/>
          </ac:spMkLst>
        </pc:spChg>
        <pc:spChg chg="add mod">
          <ac:chgData name="Preskovvi .." userId="7c69300a0eb9d815" providerId="LiveId" clId="{31A119BB-21F2-4C39-BAF1-CD16B3F62403}" dt="2024-09-06T08:11:14.164" v="6567" actId="1038"/>
          <ac:spMkLst>
            <pc:docMk/>
            <pc:sldMk cId="565043827" sldId="268"/>
            <ac:spMk id="29" creationId="{0C107367-C1A4-F7D1-6C31-FB9A1A526F6F}"/>
          </ac:spMkLst>
        </pc:spChg>
        <pc:spChg chg="add del">
          <ac:chgData name="Preskovvi .." userId="7c69300a0eb9d815" providerId="LiveId" clId="{31A119BB-21F2-4C39-BAF1-CD16B3F62403}" dt="2024-09-06T08:04:51.263" v="6471" actId="478"/>
          <ac:spMkLst>
            <pc:docMk/>
            <pc:sldMk cId="565043827" sldId="268"/>
            <ac:spMk id="31" creationId="{E8197279-AEDE-E3A0-B1EB-D0BAF2D9ACAC}"/>
          </ac:spMkLst>
        </pc:spChg>
        <pc:spChg chg="add mod">
          <ac:chgData name="Preskovvi .." userId="7c69300a0eb9d815" providerId="LiveId" clId="{31A119BB-21F2-4C39-BAF1-CD16B3F62403}" dt="2024-09-06T08:11:14.164" v="6567" actId="1038"/>
          <ac:spMkLst>
            <pc:docMk/>
            <pc:sldMk cId="565043827" sldId="268"/>
            <ac:spMk id="33" creationId="{0CEB79BB-D062-3891-7E8A-1CD7371BAD88}"/>
          </ac:spMkLst>
        </pc:spChg>
        <pc:grpChg chg="del">
          <ac:chgData name="Preskovvi .." userId="7c69300a0eb9d815" providerId="LiveId" clId="{31A119BB-21F2-4C39-BAF1-CD16B3F62403}" dt="2024-09-06T07:37:57.793" v="6383" actId="478"/>
          <ac:grpSpMkLst>
            <pc:docMk/>
            <pc:sldMk cId="565043827" sldId="268"/>
            <ac:grpSpMk id="6" creationId="{C8089B0D-341B-4AAE-2EBA-03C7F48B76C5}"/>
          </ac:grpSpMkLst>
        </pc:grpChg>
        <pc:grpChg chg="del">
          <ac:chgData name="Preskovvi .." userId="7c69300a0eb9d815" providerId="LiveId" clId="{31A119BB-21F2-4C39-BAF1-CD16B3F62403}" dt="2024-09-06T07:37:57.793" v="6383" actId="478"/>
          <ac:grpSpMkLst>
            <pc:docMk/>
            <pc:sldMk cId="565043827" sldId="268"/>
            <ac:grpSpMk id="12" creationId="{2E1428F6-0AA3-AD38-CF5C-4925904B8F6B}"/>
          </ac:grpSpMkLst>
        </pc:grpChg>
        <pc:grpChg chg="del">
          <ac:chgData name="Preskovvi .." userId="7c69300a0eb9d815" providerId="LiveId" clId="{31A119BB-21F2-4C39-BAF1-CD16B3F62403}" dt="2024-09-06T07:37:57.793" v="6383" actId="478"/>
          <ac:grpSpMkLst>
            <pc:docMk/>
            <pc:sldMk cId="565043827" sldId="268"/>
            <ac:grpSpMk id="18" creationId="{0E4CE36E-1A31-6074-4D78-527528203230}"/>
          </ac:grpSpMkLst>
        </pc:grpChg>
        <pc:grpChg chg="del">
          <ac:chgData name="Preskovvi .." userId="7c69300a0eb9d815" providerId="LiveId" clId="{31A119BB-21F2-4C39-BAF1-CD16B3F62403}" dt="2024-09-06T07:37:57.793" v="6383" actId="478"/>
          <ac:grpSpMkLst>
            <pc:docMk/>
            <pc:sldMk cId="565043827" sldId="268"/>
            <ac:grpSpMk id="21" creationId="{0F6CEC7F-9803-3B3F-1F61-8C110D51C289}"/>
          </ac:grpSpMkLst>
        </pc:grpChg>
        <pc:grpChg chg="add mod">
          <ac:chgData name="Preskovvi .." userId="7c69300a0eb9d815" providerId="LiveId" clId="{31A119BB-21F2-4C39-BAF1-CD16B3F62403}" dt="2024-09-06T08:11:14.164" v="6567" actId="1038"/>
          <ac:grpSpMkLst>
            <pc:docMk/>
            <pc:sldMk cId="565043827" sldId="268"/>
            <ac:grpSpMk id="34" creationId="{F408E6E3-CA35-720A-BF91-3636B684AD92}"/>
          </ac:grpSpMkLst>
        </pc:grpChg>
        <pc:grpChg chg="add mod">
          <ac:chgData name="Preskovvi .." userId="7c69300a0eb9d815" providerId="LiveId" clId="{31A119BB-21F2-4C39-BAF1-CD16B3F62403}" dt="2024-09-06T08:11:14.164" v="6567" actId="1038"/>
          <ac:grpSpMkLst>
            <pc:docMk/>
            <pc:sldMk cId="565043827" sldId="268"/>
            <ac:grpSpMk id="35" creationId="{E6FAFD6F-219E-1E9E-90CC-2DD472285B9B}"/>
          </ac:grpSpMkLst>
        </pc:grpChg>
        <pc:grpChg chg="add mod">
          <ac:chgData name="Preskovvi .." userId="7c69300a0eb9d815" providerId="LiveId" clId="{31A119BB-21F2-4C39-BAF1-CD16B3F62403}" dt="2024-09-06T08:11:14.164" v="6567" actId="1038"/>
          <ac:grpSpMkLst>
            <pc:docMk/>
            <pc:sldMk cId="565043827" sldId="268"/>
            <ac:grpSpMk id="36" creationId="{29CBE09A-11A0-DE4E-E8DE-B3E5F6488215}"/>
          </ac:grpSpMkLst>
        </pc:grpChg>
        <pc:picChg chg="del">
          <ac:chgData name="Preskovvi .." userId="7c69300a0eb9d815" providerId="LiveId" clId="{31A119BB-21F2-4C39-BAF1-CD16B3F62403}" dt="2024-09-06T07:37:57.793" v="6383" actId="478"/>
          <ac:picMkLst>
            <pc:docMk/>
            <pc:sldMk cId="565043827" sldId="268"/>
            <ac:picMk id="26" creationId="{9A2A27D1-3D29-B690-8691-96091629C1D4}"/>
          </ac:picMkLst>
        </pc:picChg>
        <pc:picChg chg="del">
          <ac:chgData name="Preskovvi .." userId="7c69300a0eb9d815" providerId="LiveId" clId="{31A119BB-21F2-4C39-BAF1-CD16B3F62403}" dt="2024-09-06T07:37:57.793" v="6383" actId="478"/>
          <ac:picMkLst>
            <pc:docMk/>
            <pc:sldMk cId="565043827" sldId="268"/>
            <ac:picMk id="28" creationId="{88034B0D-DAC3-03D6-6CBB-75A86C7A3C65}"/>
          </ac:picMkLst>
        </pc:picChg>
        <pc:picChg chg="del">
          <ac:chgData name="Preskovvi .." userId="7c69300a0eb9d815" providerId="LiveId" clId="{31A119BB-21F2-4C39-BAF1-CD16B3F62403}" dt="2024-09-06T07:37:57.793" v="6383" actId="478"/>
          <ac:picMkLst>
            <pc:docMk/>
            <pc:sldMk cId="565043827" sldId="268"/>
            <ac:picMk id="30" creationId="{06D8312A-29A9-7B2B-BB02-73B16AB38725}"/>
          </ac:picMkLst>
        </pc:picChg>
        <pc:picChg chg="del">
          <ac:chgData name="Preskovvi .." userId="7c69300a0eb9d815" providerId="LiveId" clId="{31A119BB-21F2-4C39-BAF1-CD16B3F62403}" dt="2024-09-06T07:37:57.793" v="6383" actId="478"/>
          <ac:picMkLst>
            <pc:docMk/>
            <pc:sldMk cId="565043827" sldId="268"/>
            <ac:picMk id="32" creationId="{7143E9B7-2399-D10F-7197-1D2ABCAF06AA}"/>
          </ac:picMkLst>
        </pc:picChg>
        <pc:picChg chg="add del mod">
          <ac:chgData name="Preskovvi .." userId="7c69300a0eb9d815" providerId="LiveId" clId="{31A119BB-21F2-4C39-BAF1-CD16B3F62403}" dt="2024-09-06T07:52:51.063" v="6392" actId="478"/>
          <ac:picMkLst>
            <pc:docMk/>
            <pc:sldMk cId="565043827" sldId="268"/>
            <ac:picMk id="9218" creationId="{AB32CE53-EC00-0B89-B834-57B9F35096DD}"/>
          </ac:picMkLst>
        </pc:picChg>
        <pc:picChg chg="add mod">
          <ac:chgData name="Preskovvi .." userId="7c69300a0eb9d815" providerId="LiveId" clId="{31A119BB-21F2-4C39-BAF1-CD16B3F62403}" dt="2024-09-06T08:11:14.164" v="6567" actId="1038"/>
          <ac:picMkLst>
            <pc:docMk/>
            <pc:sldMk cId="565043827" sldId="268"/>
            <ac:picMk id="9220" creationId="{DAB685E8-1BBC-23CC-D248-A101A989714B}"/>
          </ac:picMkLst>
        </pc:picChg>
        <pc:picChg chg="add mod">
          <ac:chgData name="Preskovvi .." userId="7c69300a0eb9d815" providerId="LiveId" clId="{31A119BB-21F2-4C39-BAF1-CD16B3F62403}" dt="2024-09-06T08:11:14.164" v="6567" actId="1038"/>
          <ac:picMkLst>
            <pc:docMk/>
            <pc:sldMk cId="565043827" sldId="268"/>
            <ac:picMk id="9223" creationId="{51598BCA-2F54-FDDB-6EEB-CBEB9B3FCB35}"/>
          </ac:picMkLst>
        </pc:picChg>
        <pc:picChg chg="add mod">
          <ac:chgData name="Preskovvi .." userId="7c69300a0eb9d815" providerId="LiveId" clId="{31A119BB-21F2-4C39-BAF1-CD16B3F62403}" dt="2024-09-06T08:11:14.164" v="6567" actId="1038"/>
          <ac:picMkLst>
            <pc:docMk/>
            <pc:sldMk cId="565043827" sldId="268"/>
            <ac:picMk id="9232" creationId="{EABF5F94-6E15-531E-46D7-1CAC4BEB6766}"/>
          </ac:picMkLst>
        </pc:picChg>
      </pc:sldChg>
      <pc:sldChg chg="addSp delSp modSp add mod">
        <pc:chgData name="Preskovvi .." userId="7c69300a0eb9d815" providerId="LiveId" clId="{31A119BB-21F2-4C39-BAF1-CD16B3F62403}" dt="2024-09-06T08:32:45.729" v="6717" actId="14100"/>
        <pc:sldMkLst>
          <pc:docMk/>
          <pc:sldMk cId="4093414212" sldId="269"/>
        </pc:sldMkLst>
        <pc:spChg chg="mod ord">
          <ac:chgData name="Preskovvi .." userId="7c69300a0eb9d815" providerId="LiveId" clId="{31A119BB-21F2-4C39-BAF1-CD16B3F62403}" dt="2024-09-06T08:30:47.419" v="6695" actId="1037"/>
          <ac:spMkLst>
            <pc:docMk/>
            <pc:sldMk cId="4093414212" sldId="269"/>
            <ac:spMk id="3" creationId="{F014CAE8-DE72-0821-0866-AC0B80906758}"/>
          </ac:spMkLst>
        </pc:spChg>
        <pc:spChg chg="mod ord">
          <ac:chgData name="Preskovvi .." userId="7c69300a0eb9d815" providerId="LiveId" clId="{31A119BB-21F2-4C39-BAF1-CD16B3F62403}" dt="2024-09-06T08:31:31.577" v="6716" actId="207"/>
          <ac:spMkLst>
            <pc:docMk/>
            <pc:sldMk cId="4093414212" sldId="269"/>
            <ac:spMk id="5" creationId="{D5DA6762-6BE3-E0A4-8B84-84D97990FFD8}"/>
          </ac:spMkLst>
        </pc:spChg>
        <pc:graphicFrameChg chg="mod">
          <ac:chgData name="Preskovvi .." userId="7c69300a0eb9d815" providerId="LiveId" clId="{31A119BB-21F2-4C39-BAF1-CD16B3F62403}" dt="2024-09-06T08:30:06.647" v="6681"/>
          <ac:graphicFrameMkLst>
            <pc:docMk/>
            <pc:sldMk cId="4093414212" sldId="269"/>
            <ac:graphicFrameMk id="4" creationId="{88EA9C2E-0A49-8BF2-DC81-AB857322CE89}"/>
          </ac:graphicFrameMkLst>
        </pc:graphicFrameChg>
        <pc:picChg chg="del">
          <ac:chgData name="Preskovvi .." userId="7c69300a0eb9d815" providerId="LiveId" clId="{31A119BB-21F2-4C39-BAF1-CD16B3F62403}" dt="2024-09-06T08:29:07.132" v="6673" actId="478"/>
          <ac:picMkLst>
            <pc:docMk/>
            <pc:sldMk cId="4093414212" sldId="269"/>
            <ac:picMk id="8194" creationId="{C5AB377E-3BFA-F4FC-DD51-4D49F1393330}"/>
          </ac:picMkLst>
        </pc:picChg>
        <pc:picChg chg="add mod">
          <ac:chgData name="Preskovvi .." userId="7c69300a0eb9d815" providerId="LiveId" clId="{31A119BB-21F2-4C39-BAF1-CD16B3F62403}" dt="2024-09-06T08:32:45.729" v="6717" actId="14100"/>
          <ac:picMkLst>
            <pc:docMk/>
            <pc:sldMk cId="4093414212" sldId="269"/>
            <ac:picMk id="10242" creationId="{F8A69C7D-0DE1-4957-C033-6E75FAC85DDE}"/>
          </ac:picMkLst>
        </pc:picChg>
      </pc:sldChg>
      <pc:sldChg chg="addSp delSp modSp add del mod">
        <pc:chgData name="Preskovvi .." userId="7c69300a0eb9d815" providerId="LiveId" clId="{31A119BB-21F2-4C39-BAF1-CD16B3F62403}" dt="2024-09-06T10:30:24.047" v="6754" actId="47"/>
        <pc:sldMkLst>
          <pc:docMk/>
          <pc:sldMk cId="272999857" sldId="270"/>
        </pc:sldMkLst>
        <pc:picChg chg="del">
          <ac:chgData name="Preskovvi .." userId="7c69300a0eb9d815" providerId="LiveId" clId="{31A119BB-21F2-4C39-BAF1-CD16B3F62403}" dt="2024-09-06T10:30:00.422" v="6750" actId="478"/>
          <ac:picMkLst>
            <pc:docMk/>
            <pc:sldMk cId="272999857" sldId="270"/>
            <ac:picMk id="3" creationId="{866C514E-4C08-AAEF-837C-F371A2A0AD3C}"/>
          </ac:picMkLst>
        </pc:picChg>
        <pc:picChg chg="add del mod">
          <ac:chgData name="Preskovvi .." userId="7c69300a0eb9d815" providerId="LiveId" clId="{31A119BB-21F2-4C39-BAF1-CD16B3F62403}" dt="2024-09-06T10:30:20.516" v="6753" actId="478"/>
          <ac:picMkLst>
            <pc:docMk/>
            <pc:sldMk cId="272999857" sldId="270"/>
            <ac:picMk id="6" creationId="{D4A9B2C2-52DC-5A94-495F-64DEBA819561}"/>
          </ac:picMkLst>
        </pc:picChg>
        <pc:picChg chg="del">
          <ac:chgData name="Preskovvi .." userId="7c69300a0eb9d815" providerId="LiveId" clId="{31A119BB-21F2-4C39-BAF1-CD16B3F62403}" dt="2024-09-06T10:30:00.422" v="6750" actId="478"/>
          <ac:picMkLst>
            <pc:docMk/>
            <pc:sldMk cId="272999857" sldId="270"/>
            <ac:picMk id="7" creationId="{BF98F4F1-B8A5-872C-DFFD-4D35D3BB707B}"/>
          </ac:picMkLst>
        </pc:picChg>
        <pc:picChg chg="del">
          <ac:chgData name="Preskovvi .." userId="7c69300a0eb9d815" providerId="LiveId" clId="{31A119BB-21F2-4C39-BAF1-CD16B3F62403}" dt="2024-09-06T10:30:00.422" v="6750" actId="478"/>
          <ac:picMkLst>
            <pc:docMk/>
            <pc:sldMk cId="272999857" sldId="270"/>
            <ac:picMk id="9" creationId="{3C082CA3-8146-16CF-B29A-95C9FC96D64C}"/>
          </ac:picMkLst>
        </pc:picChg>
        <pc:picChg chg="del">
          <ac:chgData name="Preskovvi .." userId="7c69300a0eb9d815" providerId="LiveId" clId="{31A119BB-21F2-4C39-BAF1-CD16B3F62403}" dt="2024-09-06T10:30:00.422" v="6750" actId="478"/>
          <ac:picMkLst>
            <pc:docMk/>
            <pc:sldMk cId="272999857" sldId="270"/>
            <ac:picMk id="11" creationId="{9B54CE20-6F7D-3D79-44B4-3EAAACA49F80}"/>
          </ac:picMkLst>
        </pc:picChg>
        <pc:picChg chg="del">
          <ac:chgData name="Preskovvi .." userId="7c69300a0eb9d815" providerId="LiveId" clId="{31A119BB-21F2-4C39-BAF1-CD16B3F62403}" dt="2024-09-06T10:30:00.422" v="6750" actId="478"/>
          <ac:picMkLst>
            <pc:docMk/>
            <pc:sldMk cId="272999857" sldId="270"/>
            <ac:picMk id="13" creationId="{0FD361A6-26FA-96D3-87F5-0BB537DE5621}"/>
          </ac:picMkLst>
        </pc:picChg>
        <pc:picChg chg="del">
          <ac:chgData name="Preskovvi .." userId="7c69300a0eb9d815" providerId="LiveId" clId="{31A119BB-21F2-4C39-BAF1-CD16B3F62403}" dt="2024-09-06T10:30:00.422" v="6750" actId="478"/>
          <ac:picMkLst>
            <pc:docMk/>
            <pc:sldMk cId="272999857" sldId="270"/>
            <ac:picMk id="15" creationId="{141AEB6C-1D67-BC03-E7B3-C2F4A7061C8A}"/>
          </ac:picMkLst>
        </pc:picChg>
      </pc:sldChg>
      <pc:sldChg chg="addSp delSp modSp add mod">
        <pc:chgData name="Preskovvi .." userId="7c69300a0eb9d815" providerId="LiveId" clId="{31A119BB-21F2-4C39-BAF1-CD16B3F62403}" dt="2024-09-06T10:31:55.608" v="6781" actId="1037"/>
        <pc:sldMkLst>
          <pc:docMk/>
          <pc:sldMk cId="3743609002" sldId="270"/>
        </pc:sldMkLst>
        <pc:spChg chg="del">
          <ac:chgData name="Preskovvi .." userId="7c69300a0eb9d815" providerId="LiveId" clId="{31A119BB-21F2-4C39-BAF1-CD16B3F62403}" dt="2024-09-06T10:30:58.792" v="6759" actId="478"/>
          <ac:spMkLst>
            <pc:docMk/>
            <pc:sldMk cId="3743609002" sldId="270"/>
            <ac:spMk id="16" creationId="{8F57B381-97C0-DA0D-2AE5-733BD71E7509}"/>
          </ac:spMkLst>
        </pc:spChg>
        <pc:picChg chg="del">
          <ac:chgData name="Preskovvi .." userId="7c69300a0eb9d815" providerId="LiveId" clId="{31A119BB-21F2-4C39-BAF1-CD16B3F62403}" dt="2024-09-06T10:30:49.559" v="6756" actId="478"/>
          <ac:picMkLst>
            <pc:docMk/>
            <pc:sldMk cId="3743609002" sldId="270"/>
            <ac:picMk id="3" creationId="{866C514E-4C08-AAEF-837C-F371A2A0AD3C}"/>
          </ac:picMkLst>
        </pc:picChg>
        <pc:picChg chg="add mod modCrop">
          <ac:chgData name="Preskovvi .." userId="7c69300a0eb9d815" providerId="LiveId" clId="{31A119BB-21F2-4C39-BAF1-CD16B3F62403}" dt="2024-09-06T10:31:50.783" v="6775" actId="732"/>
          <ac:picMkLst>
            <pc:docMk/>
            <pc:sldMk cId="3743609002" sldId="270"/>
            <ac:picMk id="6" creationId="{6D76EAF2-C3B6-00C0-1286-6290CC29A2B9}"/>
          </ac:picMkLst>
        </pc:picChg>
        <pc:picChg chg="del">
          <ac:chgData name="Preskovvi .." userId="7c69300a0eb9d815" providerId="LiveId" clId="{31A119BB-21F2-4C39-BAF1-CD16B3F62403}" dt="2024-09-06T10:30:49.559" v="6756" actId="478"/>
          <ac:picMkLst>
            <pc:docMk/>
            <pc:sldMk cId="3743609002" sldId="270"/>
            <ac:picMk id="7" creationId="{BF98F4F1-B8A5-872C-DFFD-4D35D3BB707B}"/>
          </ac:picMkLst>
        </pc:picChg>
        <pc:picChg chg="del">
          <ac:chgData name="Preskovvi .." userId="7c69300a0eb9d815" providerId="LiveId" clId="{31A119BB-21F2-4C39-BAF1-CD16B3F62403}" dt="2024-09-06T10:30:49.559" v="6756" actId="478"/>
          <ac:picMkLst>
            <pc:docMk/>
            <pc:sldMk cId="3743609002" sldId="270"/>
            <ac:picMk id="9" creationId="{3C082CA3-8146-16CF-B29A-95C9FC96D64C}"/>
          </ac:picMkLst>
        </pc:picChg>
        <pc:picChg chg="add mod">
          <ac:chgData name="Preskovvi .." userId="7c69300a0eb9d815" providerId="LiveId" clId="{31A119BB-21F2-4C39-BAF1-CD16B3F62403}" dt="2024-09-06T10:31:55.608" v="6781" actId="1037"/>
          <ac:picMkLst>
            <pc:docMk/>
            <pc:sldMk cId="3743609002" sldId="270"/>
            <ac:picMk id="10" creationId="{E81AD398-35CE-9C4C-B785-F5EF3D62B519}"/>
          </ac:picMkLst>
        </pc:picChg>
        <pc:picChg chg="del">
          <ac:chgData name="Preskovvi .." userId="7c69300a0eb9d815" providerId="LiveId" clId="{31A119BB-21F2-4C39-BAF1-CD16B3F62403}" dt="2024-09-06T10:30:49.559" v="6756" actId="478"/>
          <ac:picMkLst>
            <pc:docMk/>
            <pc:sldMk cId="3743609002" sldId="270"/>
            <ac:picMk id="11" creationId="{9B54CE20-6F7D-3D79-44B4-3EAAACA49F80}"/>
          </ac:picMkLst>
        </pc:picChg>
        <pc:picChg chg="del">
          <ac:chgData name="Preskovvi .." userId="7c69300a0eb9d815" providerId="LiveId" clId="{31A119BB-21F2-4C39-BAF1-CD16B3F62403}" dt="2024-09-06T10:30:49.559" v="6756" actId="478"/>
          <ac:picMkLst>
            <pc:docMk/>
            <pc:sldMk cId="3743609002" sldId="270"/>
            <ac:picMk id="13" creationId="{0FD361A6-26FA-96D3-87F5-0BB537DE5621}"/>
          </ac:picMkLst>
        </pc:picChg>
        <pc:picChg chg="del">
          <ac:chgData name="Preskovvi .." userId="7c69300a0eb9d815" providerId="LiveId" clId="{31A119BB-21F2-4C39-BAF1-CD16B3F62403}" dt="2024-09-06T10:30:49.559" v="6756" actId="478"/>
          <ac:picMkLst>
            <pc:docMk/>
            <pc:sldMk cId="3743609002" sldId="270"/>
            <ac:picMk id="15" creationId="{141AEB6C-1D67-BC03-E7B3-C2F4A7061C8A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799710773680405E-2"/>
          <c:y val="5.1587301587301584E-2"/>
          <c:w val="0.96240057845263915"/>
          <c:h val="0.896825396825396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1110000000000</c:v>
                </c:pt>
                <c:pt idx="1">
                  <c:v>284560000000</c:v>
                </c:pt>
                <c:pt idx="2">
                  <c:v>118180000000</c:v>
                </c:pt>
                <c:pt idx="3">
                  <c:v>72980000000</c:v>
                </c:pt>
                <c:pt idx="4">
                  <c:v>6046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8-4449-85CD-185011E949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6477776"/>
        <c:axId val="1"/>
      </c:barChart>
      <c:catAx>
        <c:axId val="9464777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C0C0C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1000000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64777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FED8CA-0F16-4E89-B803-8C01DF7600DA}" type="datetimeFigureOut">
              <a:rPr lang="pt-PT" smtClean="0"/>
              <a:t>05/09/2024</a:t>
            </a:fld>
            <a:endParaRPr lang="pt-PT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61BD2D-724A-4B99-9547-9C3A75C53641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548806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1BD2D-724A-4B99-9547-9C3A75C53641}" type="slidenum">
              <a:rPr lang="pt-PT" smtClean="0"/>
              <a:t>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590228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p-loss and take-profit mechanisms stabilize returns and reduce </a:t>
            </a:r>
            <a:r>
              <a:rPr lang="en-US" dirty="0" err="1"/>
              <a:t>drawdowns.</a:t>
            </a:r>
            <a:r>
              <a:rPr lang="en-US" b="1" dirty="0" err="1"/>
              <a:t>Conclusion</a:t>
            </a:r>
            <a:r>
              <a:rPr lang="en-US" dirty="0"/>
              <a:t>: Effective risk management led to more consistent portfolio performance, limiting losses in volatile markets.</a:t>
            </a:r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1BD2D-724A-4B99-9547-9C3A75C53641}" type="slidenum">
              <a:rPr lang="pt-PT" smtClean="0"/>
              <a:t>1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717374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1BD2D-724A-4B99-9547-9C3A75C53641}" type="slidenum">
              <a:rPr lang="pt-PT" smtClean="0"/>
              <a:t>1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1708603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1BD2D-724A-4B99-9547-9C3A75C53641}" type="slidenum">
              <a:rPr lang="pt-PT" smtClean="0"/>
              <a:t>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980256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1BD2D-724A-4B99-9547-9C3A75C53641}" type="slidenum">
              <a:rPr lang="pt-PT" smtClean="0"/>
              <a:t>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096490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1BD2D-724A-4B99-9547-9C3A75C53641}" type="slidenum">
              <a:rPr lang="pt-PT" smtClean="0"/>
              <a:t>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793001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Linear Regression Model</a:t>
            </a:r>
          </a:p>
          <a:p>
            <a:r>
              <a:rPr lang="en-US" b="1" dirty="0"/>
              <a:t>Why It's Applied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Suitability for Data</a:t>
            </a:r>
            <a:r>
              <a:rPr lang="en-US" dirty="0"/>
              <a:t>: Linear regression is a simple and interpretable model that fits well with time series data when the relationships between features and the target variable are mostly linea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Assumptions Checked</a:t>
            </a:r>
            <a:r>
              <a:rPr lang="en-US" dirty="0"/>
              <a:t>: We ensured that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Linearity</a:t>
            </a:r>
            <a:r>
              <a:rPr lang="en-US" dirty="0"/>
              <a:t>: The relationship between the lagged features (lagged closing prices) and the target variable (future prices) was assumed to be linear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Stationarity</a:t>
            </a:r>
            <a:r>
              <a:rPr lang="en-US" dirty="0"/>
              <a:t>: We addressed the issue of non-stationarity in the time series by performing differencing and stationarity checks (e.g., the Dickey-Fuller test) to stabilize the time series data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Multicollinearity</a:t>
            </a:r>
            <a:r>
              <a:rPr lang="en-US" dirty="0"/>
              <a:t>: Using lagged prices may introduce multicollinearity. While not a strict requirement for linear regression, reducing multicollinearity can improve the model’s interpretability. A </a:t>
            </a:r>
            <a:r>
              <a:rPr lang="en-US" b="1" dirty="0"/>
              <a:t>correlation matrix</a:t>
            </a:r>
            <a:r>
              <a:rPr lang="en-US" dirty="0"/>
              <a:t> was used to understand feature relationships.</a:t>
            </a:r>
          </a:p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1BD2D-724A-4B99-9547-9C3A75C53641}" type="slidenum">
              <a:rPr lang="pt-PT" smtClean="0"/>
              <a:t>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689556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1BD2D-724A-4B99-9547-9C3A75C53641}" type="slidenum">
              <a:rPr lang="pt-PT" smtClean="0"/>
              <a:t>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325134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1BD2D-724A-4B99-9547-9C3A75C53641}" type="slidenum">
              <a:rPr lang="pt-PT" smtClean="0"/>
              <a:t>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738231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1BD2D-724A-4B99-9547-9C3A75C53641}" type="slidenum">
              <a:rPr lang="pt-PT" smtClean="0"/>
              <a:t>1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7820007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61BD2D-724A-4B99-9547-9C3A75C53641}" type="slidenum">
              <a:rPr lang="pt-PT" smtClean="0"/>
              <a:t>1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89853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0B81BA6-3967-6DEE-86F0-696A6A6FB4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CC2CF23-44F0-3F51-EAFB-34611AE5AE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PT"/>
              <a:t>Clique para editar o estilo de subtítulo do Modelo Globa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ABAE8E03-1D77-4391-A3D6-268C20585D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B2267-5328-4AEF-B8FB-4DFDD2341E12}" type="datetimeFigureOut">
              <a:rPr lang="pt-PT" smtClean="0"/>
              <a:t>05/09/2024</a:t>
            </a:fld>
            <a:endParaRPr lang="pt-PT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8709555E-69B6-21B2-BDA2-2B1A963D7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D13CC08E-4F29-B325-44B3-DECA3583AF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D3593-2DF5-4887-B065-D7DD8D602A59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549492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14FA23-A62C-26C4-63A1-879929D44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e Texto Vertical 2">
            <a:extLst>
              <a:ext uri="{FF2B5EF4-FFF2-40B4-BE49-F238E27FC236}">
                <a16:creationId xmlns:a16="http://schemas.microsoft.com/office/drawing/2014/main" id="{D2FE670C-2A57-1F27-0A44-055B35BBC3D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9D12F6FC-B17C-21FB-54CE-1C140D8779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B2267-5328-4AEF-B8FB-4DFDD2341E12}" type="datetimeFigureOut">
              <a:rPr lang="pt-PT" smtClean="0"/>
              <a:t>05/09/2024</a:t>
            </a:fld>
            <a:endParaRPr lang="pt-PT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80CDE3ED-2DC7-DFFF-85CF-80CF1C204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E0074285-D410-3C01-6493-52F0CB9FA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D3593-2DF5-4887-B065-D7DD8D602A59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73972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F8FC89EE-38A1-271B-5EF1-32E0EE3579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e Texto Vertical 2">
            <a:extLst>
              <a:ext uri="{FF2B5EF4-FFF2-40B4-BE49-F238E27FC236}">
                <a16:creationId xmlns:a16="http://schemas.microsoft.com/office/drawing/2014/main" id="{CA59A259-75EB-3472-1CEF-743A75FB11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122B3C80-6B1F-C45D-5222-45E19BB1CA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B2267-5328-4AEF-B8FB-4DFDD2341E12}" type="datetimeFigureOut">
              <a:rPr lang="pt-PT" smtClean="0"/>
              <a:t>05/09/2024</a:t>
            </a:fld>
            <a:endParaRPr lang="pt-PT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FE9B7C82-3374-3116-4FEF-E6722ED19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F868223D-2574-F099-2C85-3F56AD153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D3593-2DF5-4887-B065-D7DD8D602A59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6868357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707FF11-1938-DB73-7D04-25C31A6A1B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e Conteúdo 2">
            <a:extLst>
              <a:ext uri="{FF2B5EF4-FFF2-40B4-BE49-F238E27FC236}">
                <a16:creationId xmlns:a16="http://schemas.microsoft.com/office/drawing/2014/main" id="{DD19AC55-5220-E2EC-21FB-D8033D08D2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B3399420-3084-19CE-9DA5-ACFE470F0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B2267-5328-4AEF-B8FB-4DFDD2341E12}" type="datetimeFigureOut">
              <a:rPr lang="pt-PT" smtClean="0"/>
              <a:t>05/09/2024</a:t>
            </a:fld>
            <a:endParaRPr lang="pt-PT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39B98FE8-2573-4363-3084-EA6D48581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02ED7CBF-E54D-640A-EA95-B78AF88A2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D3593-2DF5-4887-B065-D7DD8D602A59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72544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BAE2E4C-B7C5-69E5-EB95-5DE979923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4F302E13-5389-389C-087F-BAD7D50A97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PT"/>
              <a:t>Clique para editar os estilos do texto de Modelo Globa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6D5731A6-FA71-C5F6-F2C1-8D951793E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B2267-5328-4AEF-B8FB-4DFDD2341E12}" type="datetimeFigureOut">
              <a:rPr lang="pt-PT" smtClean="0"/>
              <a:t>05/09/2024</a:t>
            </a:fld>
            <a:endParaRPr lang="pt-PT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2B0DC14D-3266-D1D6-0674-85B081230F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0D2AD226-BF77-037B-8408-C8B3E2B50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D3593-2DF5-4887-B065-D7DD8D602A59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63148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BF091CB-347B-55F2-3F95-9DB837081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e Conteúdo 2">
            <a:extLst>
              <a:ext uri="{FF2B5EF4-FFF2-40B4-BE49-F238E27FC236}">
                <a16:creationId xmlns:a16="http://schemas.microsoft.com/office/drawing/2014/main" id="{DE776A08-AFDF-14B1-3F14-AAB7A7A00A8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4" name="Marcador de Posição de Conteúdo 3">
            <a:extLst>
              <a:ext uri="{FF2B5EF4-FFF2-40B4-BE49-F238E27FC236}">
                <a16:creationId xmlns:a16="http://schemas.microsoft.com/office/drawing/2014/main" id="{DD75454D-D2B7-3981-C0BA-579D65C2F8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5" name="Marcador de Posição da Data 4">
            <a:extLst>
              <a:ext uri="{FF2B5EF4-FFF2-40B4-BE49-F238E27FC236}">
                <a16:creationId xmlns:a16="http://schemas.microsoft.com/office/drawing/2014/main" id="{3ED2816B-FFE0-D2BA-A05A-4ADE654AC9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B2267-5328-4AEF-B8FB-4DFDD2341E12}" type="datetimeFigureOut">
              <a:rPr lang="pt-PT" smtClean="0"/>
              <a:t>05/09/2024</a:t>
            </a:fld>
            <a:endParaRPr lang="pt-PT"/>
          </a:p>
        </p:txBody>
      </p:sp>
      <p:sp>
        <p:nvSpPr>
          <p:cNvPr id="6" name="Marcador de Posição do Rodapé 5">
            <a:extLst>
              <a:ext uri="{FF2B5EF4-FFF2-40B4-BE49-F238E27FC236}">
                <a16:creationId xmlns:a16="http://schemas.microsoft.com/office/drawing/2014/main" id="{AD317B1B-106A-6F45-78A2-43DF6A3CA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>
            <a:extLst>
              <a:ext uri="{FF2B5EF4-FFF2-40B4-BE49-F238E27FC236}">
                <a16:creationId xmlns:a16="http://schemas.microsoft.com/office/drawing/2014/main" id="{E6311579-AB06-88DA-6D5D-D1971F372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D3593-2DF5-4887-B065-D7DD8D602A59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83955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B3F24BB-F7BD-B518-4BD6-090483102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A94DD08A-E12A-5EF7-128E-74BE245EB5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/>
              <a:t>Clique para editar os estilos do texto de Modelo Global</a:t>
            </a:r>
          </a:p>
        </p:txBody>
      </p:sp>
      <p:sp>
        <p:nvSpPr>
          <p:cNvPr id="4" name="Marcador de Posição de Conteúdo 3">
            <a:extLst>
              <a:ext uri="{FF2B5EF4-FFF2-40B4-BE49-F238E27FC236}">
                <a16:creationId xmlns:a16="http://schemas.microsoft.com/office/drawing/2014/main" id="{876AAD8E-BAB3-A413-44C4-FA057ADE7E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8442FA9B-5647-3964-2473-9A9BBACEFA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/>
              <a:t>Clique para editar os estilos do texto de Modelo Global</a:t>
            </a:r>
          </a:p>
        </p:txBody>
      </p:sp>
      <p:sp>
        <p:nvSpPr>
          <p:cNvPr id="6" name="Marcador de Posição de Conteúdo 5">
            <a:extLst>
              <a:ext uri="{FF2B5EF4-FFF2-40B4-BE49-F238E27FC236}">
                <a16:creationId xmlns:a16="http://schemas.microsoft.com/office/drawing/2014/main" id="{8BC551C8-F183-3D41-F036-174D4CC6F9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7" name="Marcador de Posição da Data 6">
            <a:extLst>
              <a:ext uri="{FF2B5EF4-FFF2-40B4-BE49-F238E27FC236}">
                <a16:creationId xmlns:a16="http://schemas.microsoft.com/office/drawing/2014/main" id="{B3C9FF6E-01B5-29B9-2CA4-6C42C3AF84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B2267-5328-4AEF-B8FB-4DFDD2341E12}" type="datetimeFigureOut">
              <a:rPr lang="pt-PT" smtClean="0"/>
              <a:t>05/09/2024</a:t>
            </a:fld>
            <a:endParaRPr lang="pt-PT"/>
          </a:p>
        </p:txBody>
      </p:sp>
      <p:sp>
        <p:nvSpPr>
          <p:cNvPr id="8" name="Marcador de Posição do Rodapé 7">
            <a:extLst>
              <a:ext uri="{FF2B5EF4-FFF2-40B4-BE49-F238E27FC236}">
                <a16:creationId xmlns:a16="http://schemas.microsoft.com/office/drawing/2014/main" id="{22B96D1B-1B9B-CBA5-F99F-2F6C8A3F8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Marcador de Posição do Número do Diapositivo 8">
            <a:extLst>
              <a:ext uri="{FF2B5EF4-FFF2-40B4-BE49-F238E27FC236}">
                <a16:creationId xmlns:a16="http://schemas.microsoft.com/office/drawing/2014/main" id="{83C0A669-59E5-2E6B-BD30-20EAF7C2F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D3593-2DF5-4887-B065-D7DD8D602A59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79507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7F8737-348E-FDBE-7171-8B981C023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a Data 2">
            <a:extLst>
              <a:ext uri="{FF2B5EF4-FFF2-40B4-BE49-F238E27FC236}">
                <a16:creationId xmlns:a16="http://schemas.microsoft.com/office/drawing/2014/main" id="{BB843096-95CA-522E-CB90-EC8882CDD3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B2267-5328-4AEF-B8FB-4DFDD2341E12}" type="datetimeFigureOut">
              <a:rPr lang="pt-PT" smtClean="0"/>
              <a:t>05/09/2024</a:t>
            </a:fld>
            <a:endParaRPr lang="pt-PT"/>
          </a:p>
        </p:txBody>
      </p:sp>
      <p:sp>
        <p:nvSpPr>
          <p:cNvPr id="4" name="Marcador de Posição do Rodapé 3">
            <a:extLst>
              <a:ext uri="{FF2B5EF4-FFF2-40B4-BE49-F238E27FC236}">
                <a16:creationId xmlns:a16="http://schemas.microsoft.com/office/drawing/2014/main" id="{0BA15E44-B2C4-8AD8-80F1-47C83532F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Marcador de Posição do Número do Diapositivo 4">
            <a:extLst>
              <a:ext uri="{FF2B5EF4-FFF2-40B4-BE49-F238E27FC236}">
                <a16:creationId xmlns:a16="http://schemas.microsoft.com/office/drawing/2014/main" id="{255FE7A1-53DF-45F7-5FD4-821B49C248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D3593-2DF5-4887-B065-D7DD8D602A59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63506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Data 1">
            <a:extLst>
              <a:ext uri="{FF2B5EF4-FFF2-40B4-BE49-F238E27FC236}">
                <a16:creationId xmlns:a16="http://schemas.microsoft.com/office/drawing/2014/main" id="{8C7EC1DE-ABC6-6A61-4BB0-E37F6BA1A4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B2267-5328-4AEF-B8FB-4DFDD2341E12}" type="datetimeFigureOut">
              <a:rPr lang="pt-PT" smtClean="0"/>
              <a:t>05/09/2024</a:t>
            </a:fld>
            <a:endParaRPr lang="pt-PT"/>
          </a:p>
        </p:txBody>
      </p:sp>
      <p:sp>
        <p:nvSpPr>
          <p:cNvPr id="3" name="Marcador de Posição do Rodapé 2">
            <a:extLst>
              <a:ext uri="{FF2B5EF4-FFF2-40B4-BE49-F238E27FC236}">
                <a16:creationId xmlns:a16="http://schemas.microsoft.com/office/drawing/2014/main" id="{7DDEFE0D-0B73-3137-9584-A743263433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Marcador de Posição do Número do Diapositivo 3">
            <a:extLst>
              <a:ext uri="{FF2B5EF4-FFF2-40B4-BE49-F238E27FC236}">
                <a16:creationId xmlns:a16="http://schemas.microsoft.com/office/drawing/2014/main" id="{AC3AF208-908F-293A-07D3-7296EEBFD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D3593-2DF5-4887-B065-D7DD8D602A59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176474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0957632-E2DE-9DEC-C5F4-1D07ED92CE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e Conteúdo 2">
            <a:extLst>
              <a:ext uri="{FF2B5EF4-FFF2-40B4-BE49-F238E27FC236}">
                <a16:creationId xmlns:a16="http://schemas.microsoft.com/office/drawing/2014/main" id="{5CB2F22B-926C-45ED-4ECA-8D1C17A52B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79A03980-6A81-B510-104A-21AA08894D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PT"/>
              <a:t>Clique para editar os estilos do texto de Modelo Global</a:t>
            </a:r>
          </a:p>
        </p:txBody>
      </p:sp>
      <p:sp>
        <p:nvSpPr>
          <p:cNvPr id="5" name="Marcador de Posição da Data 4">
            <a:extLst>
              <a:ext uri="{FF2B5EF4-FFF2-40B4-BE49-F238E27FC236}">
                <a16:creationId xmlns:a16="http://schemas.microsoft.com/office/drawing/2014/main" id="{15C1CD6E-0C2B-52B2-B9AB-6C61828FC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B2267-5328-4AEF-B8FB-4DFDD2341E12}" type="datetimeFigureOut">
              <a:rPr lang="pt-PT" smtClean="0"/>
              <a:t>05/09/2024</a:t>
            </a:fld>
            <a:endParaRPr lang="pt-PT"/>
          </a:p>
        </p:txBody>
      </p:sp>
      <p:sp>
        <p:nvSpPr>
          <p:cNvPr id="6" name="Marcador de Posição do Rodapé 5">
            <a:extLst>
              <a:ext uri="{FF2B5EF4-FFF2-40B4-BE49-F238E27FC236}">
                <a16:creationId xmlns:a16="http://schemas.microsoft.com/office/drawing/2014/main" id="{A31295B2-3E99-7C7F-C332-C2F2F7D67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>
            <a:extLst>
              <a:ext uri="{FF2B5EF4-FFF2-40B4-BE49-F238E27FC236}">
                <a16:creationId xmlns:a16="http://schemas.microsoft.com/office/drawing/2014/main" id="{B20AAB5C-A2A4-963E-23B9-80FA08490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D3593-2DF5-4887-B065-D7DD8D602A59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322998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C35547-E836-6117-7A65-C0C9FDC28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a Imagem 2">
            <a:extLst>
              <a:ext uri="{FF2B5EF4-FFF2-40B4-BE49-F238E27FC236}">
                <a16:creationId xmlns:a16="http://schemas.microsoft.com/office/drawing/2014/main" id="{E1C509A5-B4D9-2466-21A2-5A0CCEBF97C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94D0EC91-BA12-D4ED-74FF-171B05A58A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PT"/>
              <a:t>Clique para editar os estilos do texto de Modelo Global</a:t>
            </a:r>
          </a:p>
        </p:txBody>
      </p:sp>
      <p:sp>
        <p:nvSpPr>
          <p:cNvPr id="5" name="Marcador de Posição da Data 4">
            <a:extLst>
              <a:ext uri="{FF2B5EF4-FFF2-40B4-BE49-F238E27FC236}">
                <a16:creationId xmlns:a16="http://schemas.microsoft.com/office/drawing/2014/main" id="{A4AE511E-7FD3-E114-E487-9476ACBC95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B2267-5328-4AEF-B8FB-4DFDD2341E12}" type="datetimeFigureOut">
              <a:rPr lang="pt-PT" smtClean="0"/>
              <a:t>05/09/2024</a:t>
            </a:fld>
            <a:endParaRPr lang="pt-PT"/>
          </a:p>
        </p:txBody>
      </p:sp>
      <p:sp>
        <p:nvSpPr>
          <p:cNvPr id="6" name="Marcador de Posição do Rodapé 5">
            <a:extLst>
              <a:ext uri="{FF2B5EF4-FFF2-40B4-BE49-F238E27FC236}">
                <a16:creationId xmlns:a16="http://schemas.microsoft.com/office/drawing/2014/main" id="{C189FBDE-A79E-E56B-B0BC-9BD993F43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>
            <a:extLst>
              <a:ext uri="{FF2B5EF4-FFF2-40B4-BE49-F238E27FC236}">
                <a16:creationId xmlns:a16="http://schemas.microsoft.com/office/drawing/2014/main" id="{29544037-5499-6E20-D6C7-321AC0C07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D3593-2DF5-4887-B065-D7DD8D602A59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543895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9E3704A-B37E-3361-99E1-BB57E6414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42501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592" imgH="595" progId="TCLayout.ActiveDocument.1">
                  <p:embed/>
                </p:oleObj>
              </mc:Choice>
              <mc:Fallback>
                <p:oleObj name="Slide do think-cell" r:id="rId14" imgW="592" imgH="59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E3704A-B37E-3361-99E1-BB57E6414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Posição do Título 1">
            <a:extLst>
              <a:ext uri="{FF2B5EF4-FFF2-40B4-BE49-F238E27FC236}">
                <a16:creationId xmlns:a16="http://schemas.microsoft.com/office/drawing/2014/main" id="{57FDB239-0ECD-87BA-98F5-FC5168F85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A8475C40-C454-869D-20DB-3C44E3755C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2FCF0093-8626-2F44-47FA-926FDB1727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81B2267-5328-4AEF-B8FB-4DFDD2341E12}" type="datetimeFigureOut">
              <a:rPr lang="pt-PT" smtClean="0"/>
              <a:t>05/09/2024</a:t>
            </a:fld>
            <a:endParaRPr lang="pt-PT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491C9409-C3E6-AEF3-B125-C408B74584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519445D6-7D06-64CE-1967-5EE7B6E193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32D3593-2DF5-4887-B065-D7DD8D602A59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0451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4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4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4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4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9.png"/><Relationship Id="rId26" Type="http://schemas.openxmlformats.org/officeDocument/2006/relationships/image" Target="../media/image16.png"/><Relationship Id="rId3" Type="http://schemas.openxmlformats.org/officeDocument/2006/relationships/tags" Target="../tags/tag7.xml"/><Relationship Id="rId21" Type="http://schemas.openxmlformats.org/officeDocument/2006/relationships/image" Target="../media/image11.png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image" Target="../media/image8.png"/><Relationship Id="rId25" Type="http://schemas.openxmlformats.org/officeDocument/2006/relationships/image" Target="../media/image15.png"/><Relationship Id="rId2" Type="http://schemas.openxmlformats.org/officeDocument/2006/relationships/tags" Target="../tags/tag6.xml"/><Relationship Id="rId16" Type="http://schemas.openxmlformats.org/officeDocument/2006/relationships/image" Target="../media/image1.emf"/><Relationship Id="rId20" Type="http://schemas.openxmlformats.org/officeDocument/2006/relationships/image" Target="../media/image10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image" Target="../media/image14.png"/><Relationship Id="rId5" Type="http://schemas.openxmlformats.org/officeDocument/2006/relationships/tags" Target="../tags/tag9.xml"/><Relationship Id="rId15" Type="http://schemas.openxmlformats.org/officeDocument/2006/relationships/oleObject" Target="../embeddings/oleObject4.bin"/><Relationship Id="rId23" Type="http://schemas.openxmlformats.org/officeDocument/2006/relationships/image" Target="../media/image13.png"/><Relationship Id="rId10" Type="http://schemas.openxmlformats.org/officeDocument/2006/relationships/tags" Target="../tags/tag14.xml"/><Relationship Id="rId19" Type="http://schemas.openxmlformats.org/officeDocument/2006/relationships/chart" Target="../charts/chart1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notesSlide" Target="../notesSlides/notesSlide3.xml"/><Relationship Id="rId22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1.emf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10" Type="http://schemas.openxmlformats.org/officeDocument/2006/relationships/image" Target="../media/image35.gif"/><Relationship Id="rId4" Type="http://schemas.openxmlformats.org/officeDocument/2006/relationships/oleObject" Target="../embeddings/oleObject9.bin"/><Relationship Id="rId9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31.png"/><Relationship Id="rId11" Type="http://schemas.openxmlformats.org/officeDocument/2006/relationships/image" Target="../media/image40.png"/><Relationship Id="rId5" Type="http://schemas.openxmlformats.org/officeDocument/2006/relationships/image" Target="../media/image1.emf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8EA9C2E-0A49-8BF2-DC81-AB857322CE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1548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92" imgH="595" progId="TCLayout.ActiveDocument.1">
                  <p:embed/>
                </p:oleObj>
              </mc:Choice>
              <mc:Fallback>
                <p:oleObj name="Slide do think-cell" r:id="rId4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EA9C2E-0A49-8BF2-DC81-AB857322CE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42" name="Picture 2">
            <a:extLst>
              <a:ext uri="{FF2B5EF4-FFF2-40B4-BE49-F238E27FC236}">
                <a16:creationId xmlns:a16="http://schemas.microsoft.com/office/drawing/2014/main" id="{F8A69C7D-0DE1-4957-C033-6E75FAC85D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F014CAE8-DE72-0821-0866-AC0B80906758}"/>
              </a:ext>
            </a:extLst>
          </p:cNvPr>
          <p:cNvSpPr txBox="1"/>
          <p:nvPr/>
        </p:nvSpPr>
        <p:spPr>
          <a:xfrm>
            <a:off x="170584" y="141360"/>
            <a:ext cx="5915025" cy="1136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20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ITCOIN AND MAJOR ALTCOINS/MEMECOINS CORRELATION</a:t>
            </a:r>
            <a:r>
              <a:rPr lang="en-GB" sz="20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“</a:t>
            </a:r>
            <a:r>
              <a:rPr lang="en-GB" sz="20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CE PREDICTION AND AUTOMATED TRADING STRATEGY ALGORITHM.</a:t>
            </a:r>
            <a:endParaRPr lang="pt-PT" sz="2000" kern="1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D5DA6762-6BE3-E0A4-8B84-84D97990FFD8}"/>
              </a:ext>
            </a:extLst>
          </p:cNvPr>
          <p:cNvSpPr txBox="1"/>
          <p:nvPr/>
        </p:nvSpPr>
        <p:spPr>
          <a:xfrm>
            <a:off x="170584" y="1419441"/>
            <a:ext cx="2226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y</a:t>
            </a:r>
            <a:r>
              <a:rPr lang="pt-PT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ebastião Ngombo</a:t>
            </a:r>
          </a:p>
        </p:txBody>
      </p:sp>
    </p:spTree>
    <p:extLst>
      <p:ext uri="{BB962C8B-B14F-4D97-AF65-F5344CB8AC3E}">
        <p14:creationId xmlns:p14="http://schemas.microsoft.com/office/powerpoint/2010/main" val="40934142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52706A-05B4-CB56-EFB2-864C212EE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92" imgH="595" progId="TCLayout.ActiveDocument.1">
                  <p:embed/>
                </p:oleObj>
              </mc:Choice>
              <mc:Fallback>
                <p:oleObj name="Slide do think-cell" r:id="rId4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52706A-05B4-CB56-EFB2-864C212EE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B552AC29-4338-F4F9-B9AD-06C68BB68108}"/>
              </a:ext>
            </a:extLst>
          </p:cNvPr>
          <p:cNvSpPr txBox="1"/>
          <p:nvPr/>
        </p:nvSpPr>
        <p:spPr>
          <a:xfrm>
            <a:off x="6007100" y="947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ED PRICES</a:t>
            </a:r>
            <a:endParaRPr lang="pt-PT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6D76EAF2-C3B6-00C0-1286-6290CC29A2B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2608"/>
          <a:stretch/>
        </p:blipFill>
        <p:spPr>
          <a:xfrm>
            <a:off x="194833" y="1142643"/>
            <a:ext cx="6002768" cy="5106113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E81AD398-35CE-9C4C-B785-F5EF3D62B5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16694" y="1142643"/>
            <a:ext cx="5684806" cy="5106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609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52706A-05B4-CB56-EFB2-864C212EE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92" imgH="595" progId="TCLayout.ActiveDocument.1">
                  <p:embed/>
                </p:oleObj>
              </mc:Choice>
              <mc:Fallback>
                <p:oleObj name="Slide do think-cell" r:id="rId4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52706A-05B4-CB56-EFB2-864C212EE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B552AC29-4338-F4F9-B9AD-06C68BB68108}"/>
              </a:ext>
            </a:extLst>
          </p:cNvPr>
          <p:cNvSpPr txBox="1"/>
          <p:nvPr/>
        </p:nvSpPr>
        <p:spPr>
          <a:xfrm>
            <a:off x="6007100" y="947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DING STRATEGY DESIGN &amp; BACKTESTING </a:t>
            </a:r>
            <a:endParaRPr lang="pt-PT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C38DF71E-248E-942E-D897-8129D71FFB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7025" y="981075"/>
            <a:ext cx="8283575" cy="5710275"/>
          </a:xfrm>
          <a:prstGeom prst="rect">
            <a:avLst/>
          </a:prstGeom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FFA02833-D9D7-53B7-F106-FC105D3FCC13}"/>
              </a:ext>
            </a:extLst>
          </p:cNvPr>
          <p:cNvSpPr txBox="1"/>
          <p:nvPr/>
        </p:nvSpPr>
        <p:spPr>
          <a:xfrm>
            <a:off x="8610600" y="1147328"/>
            <a:ext cx="3403600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TH/USDT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ion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No BTC) - RMSE: 46.00389756067349, MAE: 30.250143302410095, R-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quared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0.9854394523200481Final portfolio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ue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or ETH/USDT: $993.39 </a:t>
            </a:r>
            <a:r>
              <a:rPr lang="pt-PT" sz="950" b="1" i="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tal </a:t>
            </a:r>
            <a:r>
              <a:rPr lang="pt-PT" sz="950" b="1" i="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turn</a:t>
            </a:r>
            <a:r>
              <a:rPr lang="pt-PT" sz="950" b="1" i="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-0.66%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mber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des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1167</a:t>
            </a:r>
          </a:p>
          <a:p>
            <a:endParaRPr lang="pt-PT" sz="9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A/USDT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ion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No BTC) - RMSE: 0.009606725983774001, MAE: 0.005774532434227402, R-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quared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0.9933117488654116Final portfolio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ue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or ADA/USDT: $1170.29 </a:t>
            </a:r>
            <a:r>
              <a:rPr lang="pt-PT" sz="950" b="1" i="0" dirty="0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tal </a:t>
            </a:r>
            <a:r>
              <a:rPr lang="pt-PT" sz="950" b="1" i="0" dirty="0" err="1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turn</a:t>
            </a:r>
            <a:r>
              <a:rPr lang="pt-PT" sz="950" b="1" i="0" dirty="0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17.03%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mber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des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1167</a:t>
            </a:r>
          </a:p>
          <a:p>
            <a:endParaRPr lang="pt-PT" sz="9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GE/USDT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ion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No BTC) - RMSE: 0.003552613099891613, MAE: 0.002248832550880753, R-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quared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0.9859153720413065Final portfolio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ue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or DOGE/USDT: $979.26 </a:t>
            </a:r>
            <a:r>
              <a:rPr lang="pt-PT" sz="950" b="1" i="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tal </a:t>
            </a:r>
            <a:r>
              <a:rPr lang="pt-PT" sz="950" b="1" i="0" dirty="0" err="1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turn</a:t>
            </a:r>
            <a:r>
              <a:rPr lang="pt-PT" sz="950" b="1" i="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-2.07%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mber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des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1167</a:t>
            </a:r>
          </a:p>
          <a:p>
            <a:endParaRPr lang="pt-PT" sz="9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RP/USDT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ion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No BTC) - RMSE: 0.009168417103398243, MAE: 0.005764027233645064, R-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quared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0.9745009514855135Final portfolio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ue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or XRP/USDT: $1125.21 </a:t>
            </a:r>
            <a:r>
              <a:rPr lang="pt-PT" sz="950" b="1" i="0" dirty="0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tal </a:t>
            </a:r>
            <a:r>
              <a:rPr lang="pt-PT" sz="950" b="1" i="0" dirty="0" err="1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turn</a:t>
            </a:r>
            <a:r>
              <a:rPr lang="pt-PT" sz="950" b="1" i="0" dirty="0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12.52%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mber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des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1167</a:t>
            </a:r>
          </a:p>
          <a:p>
            <a:endParaRPr lang="pt-PT" sz="9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TC/USDT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ion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No BTC) - RMSE: 1.3109443334627862, MAE: 0.8055934126163901, R-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quared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0.9857548148350573Final portfolio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ue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or LTC/USDT: $1115.66 </a:t>
            </a:r>
            <a:r>
              <a:rPr lang="pt-PT" sz="950" b="1" i="0" dirty="0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tal </a:t>
            </a:r>
            <a:r>
              <a:rPr lang="pt-PT" sz="950" b="1" i="0" dirty="0" err="1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turn</a:t>
            </a:r>
            <a:r>
              <a:rPr lang="pt-PT" sz="950" b="1" i="0" dirty="0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11.57%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mber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des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1167</a:t>
            </a:r>
          </a:p>
          <a:p>
            <a:endParaRPr lang="pt-PT" sz="9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NK/USDT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ion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No BTC) - RMSE: 0.28948990728760693, MAE: 0.1872543887332364, R-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quared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0.9905939979023619Final portfolio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ue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or LINK/USDT: $908.66 </a:t>
            </a:r>
            <a:r>
              <a:rPr lang="pt-PT" sz="950" b="1" i="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tal </a:t>
            </a:r>
            <a:r>
              <a:rPr lang="pt-PT" sz="950" b="1" i="0" dirty="0" err="1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turn</a:t>
            </a:r>
            <a:r>
              <a:rPr lang="pt-PT" sz="950" b="1" i="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-9.13%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mber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des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1167</a:t>
            </a:r>
          </a:p>
          <a:p>
            <a:endParaRPr lang="pt-PT" sz="9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LM/USDT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ion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No BTC) - RMSE: 0.0017929810023674597, MAE: 0.001104066349996723, R-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quared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0.9874165870496845Final portfolio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lue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or XLM/USDT: $1009.21 </a:t>
            </a:r>
            <a:r>
              <a:rPr lang="pt-PT" sz="950" b="1" i="0" dirty="0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tal </a:t>
            </a:r>
            <a:r>
              <a:rPr lang="pt-PT" sz="950" b="1" i="0" dirty="0" err="1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turn</a:t>
            </a:r>
            <a:r>
              <a:rPr lang="pt-PT" sz="950" b="1" i="0" dirty="0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0.92%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mber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950" b="0" i="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des</a:t>
            </a:r>
            <a:r>
              <a:rPr lang="pt-PT" sz="95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1167</a:t>
            </a:r>
            <a:endParaRPr lang="pt-PT" sz="9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9960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52706A-05B4-CB56-EFB2-864C212EE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92" imgH="595" progId="TCLayout.ActiveDocument.1">
                  <p:embed/>
                </p:oleObj>
              </mc:Choice>
              <mc:Fallback>
                <p:oleObj name="Slide do think-cell" r:id="rId4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52706A-05B4-CB56-EFB2-864C212EE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B552AC29-4338-F4F9-B9AD-06C68BB68108}"/>
              </a:ext>
            </a:extLst>
          </p:cNvPr>
          <p:cNvSpPr txBox="1"/>
          <p:nvPr/>
        </p:nvSpPr>
        <p:spPr>
          <a:xfrm>
            <a:off x="6007100" y="947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CLUSIONS &amp; BUSINESS IMPLICATIONS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E7E9E69-91B1-26A3-3C81-DB4E1B101762}"/>
              </a:ext>
            </a:extLst>
          </p:cNvPr>
          <p:cNvSpPr txBox="1"/>
          <p:nvPr/>
        </p:nvSpPr>
        <p:spPr>
          <a:xfrm>
            <a:off x="280555" y="1095376"/>
            <a:ext cx="5815445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Models successfully predicted price trends</a:t>
            </a:r>
            <a:r>
              <a:rPr lang="en-US" sz="1600" dirty="0"/>
              <a:t>, especially for coins with moderate correlations to B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b="1" dirty="0"/>
              <a:t>strategy yielded positive ROI across most coins</a:t>
            </a:r>
            <a:r>
              <a:rPr lang="en-US" sz="1600" dirty="0"/>
              <a:t>, with optimal performance for weakly correlated assets (e.g., ADA, XRP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ffective risk management led to </a:t>
            </a:r>
            <a:r>
              <a:rPr lang="en-US" sz="1600" b="1" dirty="0"/>
              <a:t>more consistent portfolio performance, limiting losses </a:t>
            </a:r>
            <a:r>
              <a:rPr lang="en-US" sz="1600" dirty="0"/>
              <a:t>in volatile marke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Automated trading </a:t>
            </a:r>
            <a:r>
              <a:rPr lang="en-US" sz="1600" dirty="0"/>
              <a:t>based on predictive models allows for round-the-clock execution and removes emotional bias from decision-mak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everaging </a:t>
            </a:r>
            <a:r>
              <a:rPr lang="en-US" sz="1600" b="1" dirty="0"/>
              <a:t>correlation analysis </a:t>
            </a:r>
            <a:r>
              <a:rPr lang="en-US" sz="1600" dirty="0"/>
              <a:t>helps identify under-diversified portfolios and enables more strategic asset sele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model-driven trading strategy is scalable across multiple cryptocurrencies, making it a </a:t>
            </a:r>
            <a:r>
              <a:rPr lang="en-US" sz="1600" b="1" dirty="0"/>
              <a:t>valuable tool</a:t>
            </a:r>
            <a:r>
              <a:rPr lang="en-US" sz="1600" dirty="0"/>
              <a:t> for portfolio managers and traders.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8412A8F2-C78B-BEEC-AD9B-EB7058D6BA0F}"/>
              </a:ext>
            </a:extLst>
          </p:cNvPr>
          <p:cNvSpPr/>
          <p:nvPr/>
        </p:nvSpPr>
        <p:spPr>
          <a:xfrm>
            <a:off x="7159336" y="883227"/>
            <a:ext cx="4613563" cy="5974773"/>
          </a:xfrm>
          <a:custGeom>
            <a:avLst/>
            <a:gdLst/>
            <a:ahLst/>
            <a:cxnLst/>
            <a:rect l="l" t="t" r="r" b="b"/>
            <a:pathLst>
              <a:path w="5422296" h="6996510">
                <a:moveTo>
                  <a:pt x="0" y="0"/>
                </a:moveTo>
                <a:lnTo>
                  <a:pt x="5422296" y="0"/>
                </a:lnTo>
                <a:lnTo>
                  <a:pt x="5422296" y="6996510"/>
                </a:lnTo>
                <a:lnTo>
                  <a:pt x="0" y="6996510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728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52706A-05B4-CB56-EFB2-864C212EE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92" imgH="595" progId="TCLayout.ActiveDocument.1">
                  <p:embed/>
                </p:oleObj>
              </mc:Choice>
              <mc:Fallback>
                <p:oleObj name="Slide do think-cell" r:id="rId4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52706A-05B4-CB56-EFB2-864C212EE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 descr="Free Vector | Thank You Lettering">
            <a:extLst>
              <a:ext uri="{FF2B5EF4-FFF2-40B4-BE49-F238E27FC236}">
                <a16:creationId xmlns:a16="http://schemas.microsoft.com/office/drawing/2014/main" id="{D3D66BBA-C340-BCC0-1D35-F8EAD6FBBCFD}"/>
              </a:ext>
            </a:extLst>
          </p:cNvPr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064"/>
          <a:stretch/>
        </p:blipFill>
        <p:spPr bwMode="auto">
          <a:xfrm>
            <a:off x="5488997" y="1902131"/>
            <a:ext cx="5362575" cy="421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30A189B2-7F5E-A7BC-EB26-0B99E530C575}"/>
              </a:ext>
            </a:extLst>
          </p:cNvPr>
          <p:cNvSpPr txBox="1"/>
          <p:nvPr/>
        </p:nvSpPr>
        <p:spPr>
          <a:xfrm>
            <a:off x="103909" y="102990"/>
            <a:ext cx="11973791" cy="779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2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ITCOIN AND MAJOR ALTCOINS/MEMECOINS CORRELATION</a:t>
            </a:r>
            <a:r>
              <a:rPr lang="en-GB" sz="2000" b="1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“</a:t>
            </a:r>
            <a:r>
              <a:rPr lang="en-GB" sz="20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CE PREDICTION AND AUTOMATED TRADING STRATEGY ALGORITHM.</a:t>
            </a:r>
            <a:endParaRPr lang="pt-PT" sz="20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AAEC7EF6-348D-FBA8-8D82-ACF7BB8FD94D}"/>
              </a:ext>
            </a:extLst>
          </p:cNvPr>
          <p:cNvSpPr txBox="1"/>
          <p:nvPr/>
        </p:nvSpPr>
        <p:spPr>
          <a:xfrm>
            <a:off x="314325" y="3125568"/>
            <a:ext cx="47460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"In God we trust, all others must bring data."</a:t>
            </a:r>
          </a:p>
          <a:p>
            <a:r>
              <a:rPr lang="en-US" dirty="0"/>
              <a:t>— W. Edwards Deming</a:t>
            </a:r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17D21B8A-93D3-FC82-BB58-1650803EA2A0}"/>
              </a:ext>
            </a:extLst>
          </p:cNvPr>
          <p:cNvGrpSpPr>
            <a:grpSpLocks noChangeAspect="1"/>
          </p:cNvGrpSpPr>
          <p:nvPr/>
        </p:nvGrpSpPr>
        <p:grpSpPr>
          <a:xfrm>
            <a:off x="443529" y="5111818"/>
            <a:ext cx="3394180" cy="1746182"/>
            <a:chOff x="2536720" y="4340846"/>
            <a:chExt cx="4650328" cy="2392422"/>
          </a:xfrm>
        </p:grpSpPr>
        <p:pic>
          <p:nvPicPr>
            <p:cNvPr id="16" name="Imagem 15">
              <a:extLst>
                <a:ext uri="{FF2B5EF4-FFF2-40B4-BE49-F238E27FC236}">
                  <a16:creationId xmlns:a16="http://schemas.microsoft.com/office/drawing/2014/main" id="{153091CE-62FA-1992-2B7B-F780A286C9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725772" y="4340846"/>
              <a:ext cx="2272224" cy="2042989"/>
            </a:xfrm>
            <a:prstGeom prst="rect">
              <a:avLst/>
            </a:prstGeom>
          </p:spPr>
        </p:pic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02D16455-9E09-C1BA-4E98-94AC3DB1375C}"/>
                </a:ext>
              </a:extLst>
            </p:cNvPr>
            <p:cNvSpPr txBox="1"/>
            <p:nvPr/>
          </p:nvSpPr>
          <p:spPr>
            <a:xfrm>
              <a:off x="2536720" y="6016411"/>
              <a:ext cx="4650328" cy="7168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PT" sz="2800" dirty="0">
                  <a:latin typeface="Bradley Hand ITC" panose="03070402050302030203" pitchFamily="66" charset="0"/>
                </a:rPr>
                <a:t>Sebastião Ngombo</a:t>
              </a:r>
            </a:p>
          </p:txBody>
        </p:sp>
      </p:grp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56C180D7-E7DA-78BB-E088-8D242958D3C7}"/>
              </a:ext>
            </a:extLst>
          </p:cNvPr>
          <p:cNvSpPr txBox="1"/>
          <p:nvPr/>
        </p:nvSpPr>
        <p:spPr>
          <a:xfrm>
            <a:off x="221848" y="4927152"/>
            <a:ext cx="4393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dirty="0"/>
              <a:t>BY</a:t>
            </a:r>
          </a:p>
        </p:txBody>
      </p:sp>
    </p:spTree>
    <p:extLst>
      <p:ext uri="{BB962C8B-B14F-4D97-AF65-F5344CB8AC3E}">
        <p14:creationId xmlns:p14="http://schemas.microsoft.com/office/powerpoint/2010/main" val="1585162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8EA9C2E-0A49-8BF2-DC81-AB857322CE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92" imgH="595" progId="TCLayout.ActiveDocument.1">
                  <p:embed/>
                </p:oleObj>
              </mc:Choice>
              <mc:Fallback>
                <p:oleObj name="Slide do think-cell" r:id="rId4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EA9C2E-0A49-8BF2-DC81-AB857322CE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aixaDeTexto 10">
            <a:extLst>
              <a:ext uri="{FF2B5EF4-FFF2-40B4-BE49-F238E27FC236}">
                <a16:creationId xmlns:a16="http://schemas.microsoft.com/office/drawing/2014/main" id="{A2F7C1E5-1AAC-7ECF-D581-ABDA7276397F}"/>
              </a:ext>
            </a:extLst>
          </p:cNvPr>
          <p:cNvSpPr txBox="1"/>
          <p:nvPr/>
        </p:nvSpPr>
        <p:spPr>
          <a:xfrm>
            <a:off x="6007100" y="947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pt-PT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STORY OF TRADE</a:t>
            </a:r>
          </a:p>
        </p:txBody>
      </p:sp>
      <p:grpSp>
        <p:nvGrpSpPr>
          <p:cNvPr id="39" name="Agrupar 38">
            <a:extLst>
              <a:ext uri="{FF2B5EF4-FFF2-40B4-BE49-F238E27FC236}">
                <a16:creationId xmlns:a16="http://schemas.microsoft.com/office/drawing/2014/main" id="{4BCA85BC-EBD1-9C48-6202-9A505F66F960}"/>
              </a:ext>
            </a:extLst>
          </p:cNvPr>
          <p:cNvGrpSpPr/>
          <p:nvPr/>
        </p:nvGrpSpPr>
        <p:grpSpPr>
          <a:xfrm>
            <a:off x="64313" y="731679"/>
            <a:ext cx="2376000" cy="6040595"/>
            <a:chOff x="64313" y="731679"/>
            <a:chExt cx="2376000" cy="6040595"/>
          </a:xfrm>
        </p:grpSpPr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6DBFFD40-45FA-D4B8-F07E-DCCE56D40286}"/>
                </a:ext>
              </a:extLst>
            </p:cNvPr>
            <p:cNvSpPr txBox="1">
              <a:spLocks/>
            </p:cNvSpPr>
            <p:nvPr/>
          </p:nvSpPr>
          <p:spPr>
            <a:xfrm>
              <a:off x="64313" y="731679"/>
              <a:ext cx="237600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88900" indent="-82550">
                <a:buFont typeface="Wingdings" panose="05000000000000000000" pitchFamily="2" charset="2"/>
                <a:buChar char="§"/>
              </a:pPr>
              <a:r>
                <a:rPr lang="en-US" sz="10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imitive Trade (Before 3000 B.C.)</a:t>
              </a:r>
              <a:endParaRPr lang="pt-PT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Retângulo 14">
              <a:extLst>
                <a:ext uri="{FF2B5EF4-FFF2-40B4-BE49-F238E27FC236}">
                  <a16:creationId xmlns:a16="http://schemas.microsoft.com/office/drawing/2014/main" id="{476A39CD-5738-5819-0FC9-AA2A205AD73F}"/>
                </a:ext>
              </a:extLst>
            </p:cNvPr>
            <p:cNvSpPr>
              <a:spLocks/>
            </p:cNvSpPr>
            <p:nvPr/>
          </p:nvSpPr>
          <p:spPr>
            <a:xfrm>
              <a:off x="64313" y="5270499"/>
              <a:ext cx="2376000" cy="1501775"/>
            </a:xfrm>
            <a:prstGeom prst="rect">
              <a:avLst/>
            </a:prstGeom>
            <a:solidFill>
              <a:srgbClr val="E4E4E4"/>
            </a:solidFill>
            <a:ln>
              <a:solidFill>
                <a:srgbClr val="E4E4E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endParaRPr lang="pt-PT" sz="1000" dirty="0"/>
            </a:p>
          </p:txBody>
        </p:sp>
        <p:sp>
          <p:nvSpPr>
            <p:cNvPr id="16" name="Rectangle 9">
              <a:extLst>
                <a:ext uri="{FF2B5EF4-FFF2-40B4-BE49-F238E27FC236}">
                  <a16:creationId xmlns:a16="http://schemas.microsoft.com/office/drawing/2014/main" id="{C8827F43-9E75-E645-3B17-3F5DED7BC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26" y="5307854"/>
              <a:ext cx="2326775" cy="8617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85725" marR="0" lvl="0" indent="-85725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Barter</a:t>
              </a:r>
              <a:r>
                <a:rPr kumimoji="0" lang="pt-PT" altLang="pt-PT" sz="10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ystem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arly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cietie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ngage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in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irect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xchang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of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ood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ervice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without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oney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</a:t>
              </a:r>
            </a:p>
            <a:p>
              <a:pPr marL="85725" marR="0" lvl="0" indent="-85725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mmon</a:t>
              </a:r>
              <a:r>
                <a:rPr kumimoji="0" lang="pt-PT" altLang="pt-PT" sz="10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ood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Food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ool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livestock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handmad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tem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</p:txBody>
        </p:sp>
        <p:pic>
          <p:nvPicPr>
            <p:cNvPr id="32" name="Picture 6" descr="Barter - Wikipedia">
              <a:extLst>
                <a:ext uri="{FF2B5EF4-FFF2-40B4-BE49-F238E27FC236}">
                  <a16:creationId xmlns:a16="http://schemas.microsoft.com/office/drawing/2014/main" id="{F791944B-DD6E-F9DB-F1AE-B39190668F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231" r="14845"/>
            <a:stretch/>
          </p:blipFill>
          <p:spPr bwMode="auto">
            <a:xfrm>
              <a:off x="64313" y="977900"/>
              <a:ext cx="2376000" cy="4292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Agrupar 39">
            <a:extLst>
              <a:ext uri="{FF2B5EF4-FFF2-40B4-BE49-F238E27FC236}">
                <a16:creationId xmlns:a16="http://schemas.microsoft.com/office/drawing/2014/main" id="{8F7289BA-9814-A4D1-362E-038B639668D9}"/>
              </a:ext>
            </a:extLst>
          </p:cNvPr>
          <p:cNvGrpSpPr/>
          <p:nvPr/>
        </p:nvGrpSpPr>
        <p:grpSpPr>
          <a:xfrm>
            <a:off x="2504694" y="577790"/>
            <a:ext cx="2376000" cy="6194484"/>
            <a:chOff x="2504694" y="577790"/>
            <a:chExt cx="2376000" cy="6194484"/>
          </a:xfrm>
        </p:grpSpPr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AA79D12F-B808-EC8C-2498-B25C5AD547F1}"/>
                </a:ext>
              </a:extLst>
            </p:cNvPr>
            <p:cNvSpPr txBox="1"/>
            <p:nvPr/>
          </p:nvSpPr>
          <p:spPr>
            <a:xfrm>
              <a:off x="2504694" y="577790"/>
              <a:ext cx="23760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88900" indent="-82550">
                <a:buFont typeface="Wingdings" panose="05000000000000000000" pitchFamily="2" charset="2"/>
                <a:buChar char="§"/>
              </a:pPr>
              <a:r>
                <a:rPr lang="en-US" sz="10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mergence of Money and Cities (3000 B.C. - 1400 A.D.)</a:t>
              </a:r>
              <a:endParaRPr lang="pt-PT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Retângulo 17">
              <a:extLst>
                <a:ext uri="{FF2B5EF4-FFF2-40B4-BE49-F238E27FC236}">
                  <a16:creationId xmlns:a16="http://schemas.microsoft.com/office/drawing/2014/main" id="{D4441765-7481-34EA-EB97-C4EF5760C814}"/>
                </a:ext>
              </a:extLst>
            </p:cNvPr>
            <p:cNvSpPr/>
            <p:nvPr/>
          </p:nvSpPr>
          <p:spPr>
            <a:xfrm>
              <a:off x="2504694" y="5270499"/>
              <a:ext cx="2376000" cy="1501775"/>
            </a:xfrm>
            <a:prstGeom prst="rect">
              <a:avLst/>
            </a:prstGeom>
            <a:solidFill>
              <a:srgbClr val="D2C6AC"/>
            </a:solidFill>
            <a:ln>
              <a:solidFill>
                <a:srgbClr val="D2C6A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endParaRPr lang="pt-PT" sz="1000" dirty="0"/>
            </a:p>
          </p:txBody>
        </p:sp>
        <p:sp>
          <p:nvSpPr>
            <p:cNvPr id="19" name="Rectangle 9">
              <a:extLst>
                <a:ext uri="{FF2B5EF4-FFF2-40B4-BE49-F238E27FC236}">
                  <a16:creationId xmlns:a16="http://schemas.microsoft.com/office/drawing/2014/main" id="{7ED6C147-D3D7-2DBC-91C4-261AF8D66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9307" y="5307854"/>
              <a:ext cx="2326775" cy="11695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90488" marR="0" lvl="0" indent="-80963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vention</a:t>
              </a:r>
              <a:r>
                <a:rPr kumimoji="0" lang="pt-PT" altLang="pt-PT" sz="10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of</a:t>
              </a:r>
              <a:r>
                <a:rPr kumimoji="0" lang="pt-PT" altLang="pt-PT" sz="10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Money (600 B.C.)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troduction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of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metal coins (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ol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ilver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pper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)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ad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rad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more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fficient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</a:t>
              </a:r>
            </a:p>
            <a:p>
              <a:pPr marL="90488" marR="0" lvl="0" indent="-80963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amous</a:t>
              </a:r>
              <a:r>
                <a:rPr kumimoji="0" lang="pt-PT" altLang="pt-PT" sz="10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rade</a:t>
              </a:r>
              <a:r>
                <a:rPr kumimoji="0" lang="pt-PT" altLang="pt-PT" sz="10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oute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ilk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oa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(China-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urop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)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pic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rad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oute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</a:t>
              </a:r>
            </a:p>
            <a:p>
              <a:pPr marL="90488" marR="0" lvl="0" indent="-80963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mmon</a:t>
              </a:r>
              <a:r>
                <a:rPr kumimoji="0" lang="pt-PT" altLang="pt-PT" sz="10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ood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pice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ilk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lt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ol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ilver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 </a:t>
              </a:r>
            </a:p>
          </p:txBody>
        </p:sp>
        <p:pic>
          <p:nvPicPr>
            <p:cNvPr id="33" name="Picture 11" descr="largest_ancient_city_Babylon_Tower_of_Babel">
              <a:extLst>
                <a:ext uri="{FF2B5EF4-FFF2-40B4-BE49-F238E27FC236}">
                  <a16:creationId xmlns:a16="http://schemas.microsoft.com/office/drawing/2014/main" id="{76E765C1-4290-AA15-DCD1-F3722C19C8F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653" r="15046"/>
            <a:stretch/>
          </p:blipFill>
          <p:spPr bwMode="auto">
            <a:xfrm>
              <a:off x="2505307" y="977900"/>
              <a:ext cx="2374775" cy="42925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A7795D4C-1EA0-CC05-6757-E45A7D946D9C}"/>
              </a:ext>
            </a:extLst>
          </p:cNvPr>
          <p:cNvGrpSpPr/>
          <p:nvPr/>
        </p:nvGrpSpPr>
        <p:grpSpPr>
          <a:xfrm>
            <a:off x="4911390" y="731679"/>
            <a:ext cx="2376000" cy="6040595"/>
            <a:chOff x="4911390" y="731679"/>
            <a:chExt cx="2376000" cy="6040595"/>
          </a:xfrm>
        </p:grpSpPr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id="{463E908B-9826-792F-5757-9E6A684D2B2C}"/>
                </a:ext>
              </a:extLst>
            </p:cNvPr>
            <p:cNvSpPr txBox="1"/>
            <p:nvPr/>
          </p:nvSpPr>
          <p:spPr>
            <a:xfrm>
              <a:off x="4911390" y="731679"/>
              <a:ext cx="237600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88900" indent="-82550">
                <a:buFont typeface="Wingdings" panose="05000000000000000000" pitchFamily="2" charset="2"/>
                <a:buChar char="§"/>
              </a:pPr>
              <a:r>
                <a:rPr lang="en-US" sz="10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ge of Exploration (1400-1700)</a:t>
              </a:r>
              <a:endParaRPr lang="pt-PT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8D4C2874-84FD-640E-0461-6439BB3E2B46}"/>
                </a:ext>
              </a:extLst>
            </p:cNvPr>
            <p:cNvSpPr/>
            <p:nvPr/>
          </p:nvSpPr>
          <p:spPr>
            <a:xfrm>
              <a:off x="4911390" y="5270499"/>
              <a:ext cx="2376000" cy="1501775"/>
            </a:xfrm>
            <a:prstGeom prst="rect">
              <a:avLst/>
            </a:prstGeom>
            <a:solidFill>
              <a:srgbClr val="6599C0"/>
            </a:solidFill>
            <a:ln>
              <a:solidFill>
                <a:srgbClr val="6599C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endParaRPr lang="pt-PT" sz="1000" dirty="0"/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DBCAA365-58CD-2B9F-B225-BF192E1A6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6003" y="5307854"/>
              <a:ext cx="2326775" cy="13234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88900" marR="0" lvl="0" indent="-825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aritime</a:t>
              </a:r>
              <a:r>
                <a:rPr kumimoji="0" lang="pt-PT" altLang="pt-PT" sz="1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xploration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uropean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xplore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ew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rad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oute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to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merica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Asia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Africa.</a:t>
              </a:r>
            </a:p>
            <a:p>
              <a:pPr marL="88900" marR="0" lvl="0" indent="-825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pt-PT" altLang="pt-PT" sz="1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riangular </a:t>
              </a: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rad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clude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xchang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of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lave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sugar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obacco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tton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anufacture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ood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</a:t>
              </a:r>
            </a:p>
            <a:p>
              <a:pPr marL="88900" marR="0" lvl="0" indent="-825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mmon</a:t>
              </a:r>
              <a:r>
                <a:rPr kumimoji="0" lang="pt-PT" altLang="pt-PT" sz="1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ood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pice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ol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ilver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lave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gricultural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duct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 </a:t>
              </a:r>
            </a:p>
          </p:txBody>
        </p:sp>
        <p:pic>
          <p:nvPicPr>
            <p:cNvPr id="34" name="Picture 14" descr="Early Sailing Ships">
              <a:extLst>
                <a:ext uri="{FF2B5EF4-FFF2-40B4-BE49-F238E27FC236}">
                  <a16:creationId xmlns:a16="http://schemas.microsoft.com/office/drawing/2014/main" id="{B0B8AD88-6A12-EE64-321C-29ED673B821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2003" y="977900"/>
              <a:ext cx="2374775" cy="42917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3" name="Agrupar 42">
            <a:extLst>
              <a:ext uri="{FF2B5EF4-FFF2-40B4-BE49-F238E27FC236}">
                <a16:creationId xmlns:a16="http://schemas.microsoft.com/office/drawing/2014/main" id="{9BAE33B4-1A69-1274-12F9-1A7FB65D8613}"/>
              </a:ext>
            </a:extLst>
          </p:cNvPr>
          <p:cNvGrpSpPr/>
          <p:nvPr/>
        </p:nvGrpSpPr>
        <p:grpSpPr>
          <a:xfrm>
            <a:off x="7327131" y="731679"/>
            <a:ext cx="2376000" cy="6040595"/>
            <a:chOff x="7327131" y="731679"/>
            <a:chExt cx="2376000" cy="6040595"/>
          </a:xfrm>
        </p:grpSpPr>
        <p:sp>
          <p:nvSpPr>
            <p:cNvPr id="25" name="CaixaDeTexto 24">
              <a:extLst>
                <a:ext uri="{FF2B5EF4-FFF2-40B4-BE49-F238E27FC236}">
                  <a16:creationId xmlns:a16="http://schemas.microsoft.com/office/drawing/2014/main" id="{0B806912-B1E7-49BD-6AC2-C59DD7DD8150}"/>
                </a:ext>
              </a:extLst>
            </p:cNvPr>
            <p:cNvSpPr txBox="1"/>
            <p:nvPr/>
          </p:nvSpPr>
          <p:spPr>
            <a:xfrm>
              <a:off x="7327131" y="731679"/>
              <a:ext cx="237600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88900" indent="-82550">
                <a:buFont typeface="Wingdings" panose="05000000000000000000" pitchFamily="2" charset="2"/>
                <a:buChar char="§"/>
              </a:pPr>
              <a:r>
                <a:rPr lang="en-US" sz="10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dustrial Revolution (1700-1900)</a:t>
              </a:r>
              <a:endParaRPr lang="pt-PT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Retângulo 26">
              <a:extLst>
                <a:ext uri="{FF2B5EF4-FFF2-40B4-BE49-F238E27FC236}">
                  <a16:creationId xmlns:a16="http://schemas.microsoft.com/office/drawing/2014/main" id="{A3103571-6E20-0A7A-529F-CD6A8D741CB2}"/>
                </a:ext>
              </a:extLst>
            </p:cNvPr>
            <p:cNvSpPr/>
            <p:nvPr/>
          </p:nvSpPr>
          <p:spPr>
            <a:xfrm>
              <a:off x="7327131" y="5270499"/>
              <a:ext cx="2376000" cy="150177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0E0F1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endParaRPr lang="pt-PT" sz="1000" dirty="0"/>
            </a:p>
          </p:txBody>
        </p:sp>
        <p:sp>
          <p:nvSpPr>
            <p:cNvPr id="28" name="Rectangle 9">
              <a:extLst>
                <a:ext uri="{FF2B5EF4-FFF2-40B4-BE49-F238E27FC236}">
                  <a16:creationId xmlns:a16="http://schemas.microsoft.com/office/drawing/2014/main" id="{FB08DF3E-1725-85AB-47BF-6E9313795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44" y="5307854"/>
              <a:ext cx="2326775" cy="13234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88900" marR="0" lvl="0" indent="-825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aritime</a:t>
              </a:r>
              <a:r>
                <a:rPr kumimoji="0" lang="pt-PT" altLang="pt-PT" sz="1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xploration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uropean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xplore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ew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rad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oute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to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merica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Asia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Africa.</a:t>
              </a:r>
            </a:p>
            <a:p>
              <a:pPr marL="88900" marR="0" lvl="0" indent="-825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pt-PT" altLang="pt-PT" sz="1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riangular </a:t>
              </a: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rad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clude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xchange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of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lave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sugar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obacco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tton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anufacture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ood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</a:t>
              </a:r>
            </a:p>
            <a:p>
              <a:pPr marL="88900" marR="0" lvl="0" indent="-825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mmon</a:t>
              </a:r>
              <a:r>
                <a:rPr kumimoji="0" lang="pt-PT" altLang="pt-PT" sz="1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1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ood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pice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ol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ilver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lave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d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gricultural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ducts</a:t>
              </a:r>
              <a:r>
                <a:rPr kumimoji="0" lang="pt-PT" altLang="pt-PT" sz="10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 </a:t>
              </a:r>
            </a:p>
          </p:txBody>
        </p:sp>
        <p:pic>
          <p:nvPicPr>
            <p:cNvPr id="35" name="Picture 19" descr="Industrial Revolutions - How They Changed the World">
              <a:extLst>
                <a:ext uri="{FF2B5EF4-FFF2-40B4-BE49-F238E27FC236}">
                  <a16:creationId xmlns:a16="http://schemas.microsoft.com/office/drawing/2014/main" id="{767D8214-6B60-D8F9-EC1C-B4E40100AD0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588" r="27091"/>
            <a:stretch/>
          </p:blipFill>
          <p:spPr bwMode="auto">
            <a:xfrm>
              <a:off x="7327131" y="977094"/>
              <a:ext cx="2376000" cy="42925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2" name="Agrupar 41">
            <a:extLst>
              <a:ext uri="{FF2B5EF4-FFF2-40B4-BE49-F238E27FC236}">
                <a16:creationId xmlns:a16="http://schemas.microsoft.com/office/drawing/2014/main" id="{7B57703A-2B4B-FD3F-7112-D8DDD999B033}"/>
              </a:ext>
            </a:extLst>
          </p:cNvPr>
          <p:cNvGrpSpPr/>
          <p:nvPr/>
        </p:nvGrpSpPr>
        <p:grpSpPr>
          <a:xfrm>
            <a:off x="9761505" y="577790"/>
            <a:ext cx="2376000" cy="6194484"/>
            <a:chOff x="9730332" y="577790"/>
            <a:chExt cx="2376000" cy="6194484"/>
          </a:xfrm>
        </p:grpSpPr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98C65FB5-2E19-4BE3-AE52-4B9BFF386811}"/>
                </a:ext>
              </a:extLst>
            </p:cNvPr>
            <p:cNvSpPr txBox="1"/>
            <p:nvPr/>
          </p:nvSpPr>
          <p:spPr>
            <a:xfrm>
              <a:off x="9730332" y="577790"/>
              <a:ext cx="23760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88900" indent="-82550">
                <a:buFont typeface="Wingdings" panose="05000000000000000000" pitchFamily="2" charset="2"/>
                <a:buChar char="§"/>
              </a:pPr>
              <a:r>
                <a:rPr lang="en-US" sz="10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lobalization and Modern Trade (1900-2000)</a:t>
              </a:r>
              <a:endParaRPr lang="pt-PT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" name="Retângulo 30">
              <a:extLst>
                <a:ext uri="{FF2B5EF4-FFF2-40B4-BE49-F238E27FC236}">
                  <a16:creationId xmlns:a16="http://schemas.microsoft.com/office/drawing/2014/main" id="{3E003D7C-4524-E2DE-7707-A810160D6154}"/>
                </a:ext>
              </a:extLst>
            </p:cNvPr>
            <p:cNvSpPr/>
            <p:nvPr/>
          </p:nvSpPr>
          <p:spPr>
            <a:xfrm>
              <a:off x="9730332" y="5270499"/>
              <a:ext cx="2376000" cy="1501775"/>
            </a:xfrm>
            <a:prstGeom prst="rect">
              <a:avLst/>
            </a:prstGeom>
            <a:solidFill>
              <a:srgbClr val="A1A1A1"/>
            </a:solidFill>
            <a:ln>
              <a:solidFill>
                <a:srgbClr val="A1A1A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endParaRPr lang="pt-PT" sz="1000" dirty="0"/>
            </a:p>
          </p:txBody>
        </p:sp>
        <p:pic>
          <p:nvPicPr>
            <p:cNvPr id="36" name="Picture 24" descr="Pinn illustration">
              <a:extLst>
                <a:ext uri="{FF2B5EF4-FFF2-40B4-BE49-F238E27FC236}">
                  <a16:creationId xmlns:a16="http://schemas.microsoft.com/office/drawing/2014/main" id="{3367C612-3481-8664-B7E6-129A55CBC7B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00" t="426" r="1589" b="1460"/>
            <a:stretch/>
          </p:blipFill>
          <p:spPr bwMode="auto">
            <a:xfrm>
              <a:off x="9730333" y="977093"/>
              <a:ext cx="2375999" cy="4292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9">
              <a:extLst>
                <a:ext uri="{FF2B5EF4-FFF2-40B4-BE49-F238E27FC236}">
                  <a16:creationId xmlns:a16="http://schemas.microsoft.com/office/drawing/2014/main" id="{F2928BF3-1639-37A9-4889-F7AD2D719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4945" y="5230909"/>
              <a:ext cx="2326775" cy="14773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88900" marR="0" lvl="0" indent="-825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en-US" altLang="pt-PT" sz="1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st-World War II: Global trade expanded through economic blocs and multilateral agreements.</a:t>
              </a:r>
            </a:p>
            <a:p>
              <a:pPr marL="88900" marR="0" lvl="0" indent="-825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en-US" altLang="pt-PT" sz="1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echnology and E-commerce: The internet and e-commerce revolutionized the trade of goods and services.</a:t>
              </a:r>
            </a:p>
            <a:p>
              <a:pPr marL="88900" marR="0" lvl="0" indent="-825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</a:pPr>
              <a:r>
                <a:rPr kumimoji="0" lang="en-US" altLang="pt-PT" sz="1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mmon Goods: Oil, automobiles, electronics, agricultural commodities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6038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8EA9C2E-0A49-8BF2-DC81-AB857322CE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840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5" imgW="592" imgH="595" progId="TCLayout.ActiveDocument.1">
                  <p:embed/>
                </p:oleObj>
              </mc:Choice>
              <mc:Fallback>
                <p:oleObj name="Slide do think-cell" r:id="rId15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EA9C2E-0A49-8BF2-DC81-AB857322CE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Imagem 25" descr="Uma imagem com píxel, design&#10;&#10;Descrição gerada automaticamente">
            <a:extLst>
              <a:ext uri="{FF2B5EF4-FFF2-40B4-BE49-F238E27FC236}">
                <a16:creationId xmlns:a16="http://schemas.microsoft.com/office/drawing/2014/main" id="{DD458870-1214-9228-BB06-51A96892DFE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6837" y="1417423"/>
            <a:ext cx="756000" cy="756000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A2F7C1E5-1AAC-7ECF-D581-ABDA7276397F}"/>
              </a:ext>
            </a:extLst>
          </p:cNvPr>
          <p:cNvSpPr txBox="1"/>
          <p:nvPr/>
        </p:nvSpPr>
        <p:spPr>
          <a:xfrm>
            <a:off x="6007100" y="947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AGE OF CRYPTOCURRENCIES (2009 - PRESENT)</a:t>
            </a:r>
            <a:endParaRPr lang="pt-PT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3948DF14-B5A1-9D6B-9381-2E2B6A7080A7}"/>
              </a:ext>
            </a:extLst>
          </p:cNvPr>
          <p:cNvSpPr txBox="1"/>
          <p:nvPr/>
        </p:nvSpPr>
        <p:spPr>
          <a:xfrm>
            <a:off x="121806" y="1321686"/>
            <a:ext cx="390064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sz="4800" b="1" i="0" dirty="0">
                <a:solidFill>
                  <a:srgbClr val="1F1F1F"/>
                </a:solidFill>
                <a:effectLst/>
                <a:latin typeface="Google Sans"/>
              </a:rPr>
              <a:t>$2.06 </a:t>
            </a:r>
            <a:r>
              <a:rPr lang="pt-PT" sz="4800" b="1" i="0" dirty="0" err="1">
                <a:solidFill>
                  <a:srgbClr val="1F1F1F"/>
                </a:solidFill>
                <a:effectLst/>
                <a:latin typeface="Google Sans"/>
              </a:rPr>
              <a:t>Trillion</a:t>
            </a:r>
            <a:endParaRPr lang="pt-PT" sz="4800" b="1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AFDA39C-2305-10AE-3B1B-7E04F176C66E}"/>
              </a:ext>
            </a:extLst>
          </p:cNvPr>
          <p:cNvSpPr txBox="1"/>
          <p:nvPr/>
        </p:nvSpPr>
        <p:spPr>
          <a:xfrm>
            <a:off x="121806" y="1996851"/>
            <a:ext cx="390064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>
                <a:solidFill>
                  <a:srgbClr val="1F1F1F"/>
                </a:solidFill>
                <a:effectLst/>
                <a:latin typeface="Google Sans"/>
              </a:rPr>
              <a:t>The global cryptocurrency market cap today</a:t>
            </a:r>
            <a:endParaRPr lang="pt-PT" sz="1400" dirty="0"/>
          </a:p>
        </p:txBody>
      </p:sp>
      <p:pic>
        <p:nvPicPr>
          <p:cNvPr id="2050" name="Picture 2" descr="Capital Market Icons - Free SVG &amp; PNG Capital Market Images - Noun Project">
            <a:extLst>
              <a:ext uri="{FF2B5EF4-FFF2-40B4-BE49-F238E27FC236}">
                <a16:creationId xmlns:a16="http://schemas.microsoft.com/office/drawing/2014/main" id="{7D2FDA00-50B0-D788-437F-A0ED535771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5342" y="1517635"/>
            <a:ext cx="762973" cy="78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5A816E95-65CE-4C8B-733B-78208CD42DB1}"/>
              </a:ext>
            </a:extLst>
          </p:cNvPr>
          <p:cNvSpPr txBox="1"/>
          <p:nvPr/>
        </p:nvSpPr>
        <p:spPr>
          <a:xfrm>
            <a:off x="5164740" y="1321686"/>
            <a:ext cx="246272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sz="4800" b="1" i="0" dirty="0">
                <a:solidFill>
                  <a:srgbClr val="BFAF7E"/>
                </a:solidFill>
                <a:effectLst/>
                <a:latin typeface="Google Sans"/>
              </a:rPr>
              <a:t> + 25,0K</a:t>
            </a:r>
            <a:endParaRPr lang="pt-PT" sz="4800" b="1" dirty="0">
              <a:solidFill>
                <a:srgbClr val="BFAF7E"/>
              </a:solidFill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5A24C191-AD4D-F568-D3DE-38DDD85B8B00}"/>
              </a:ext>
            </a:extLst>
          </p:cNvPr>
          <p:cNvSpPr txBox="1"/>
          <p:nvPr/>
        </p:nvSpPr>
        <p:spPr>
          <a:xfrm>
            <a:off x="5299490" y="1996851"/>
            <a:ext cx="24627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>
                <a:solidFill>
                  <a:srgbClr val="1F1F1F"/>
                </a:solidFill>
                <a:effectLst/>
                <a:latin typeface="Google Sans"/>
              </a:rPr>
              <a:t>Crypto coins </a:t>
            </a:r>
            <a:r>
              <a:rPr lang="en-US" sz="1400" b="0" i="0" dirty="0" err="1">
                <a:solidFill>
                  <a:srgbClr val="1F1F1F"/>
                </a:solidFill>
                <a:effectLst/>
                <a:latin typeface="Google Sans"/>
              </a:rPr>
              <a:t>Publicy</a:t>
            </a:r>
            <a:r>
              <a:rPr lang="en-US" sz="1400" b="0" i="0" dirty="0">
                <a:solidFill>
                  <a:srgbClr val="1F1F1F"/>
                </a:solidFill>
                <a:effectLst/>
                <a:latin typeface="Google Sans"/>
              </a:rPr>
              <a:t> listed</a:t>
            </a:r>
            <a:endParaRPr lang="pt-PT" sz="1400" dirty="0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96FA116B-FFB0-25FC-FF69-4923312490FD}"/>
              </a:ext>
            </a:extLst>
          </p:cNvPr>
          <p:cNvSpPr txBox="1"/>
          <p:nvPr/>
        </p:nvSpPr>
        <p:spPr>
          <a:xfrm>
            <a:off x="8368732" y="1321686"/>
            <a:ext cx="344290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sz="4800" b="1" i="0" dirty="0">
                <a:solidFill>
                  <a:schemeClr val="accent2">
                    <a:lumMod val="50000"/>
                  </a:schemeClr>
                </a:solidFill>
                <a:effectLst/>
                <a:latin typeface="Google Sans"/>
              </a:rPr>
              <a:t> +</a:t>
            </a:r>
            <a:r>
              <a:rPr lang="pt-PT" sz="4800" b="1" dirty="0">
                <a:solidFill>
                  <a:schemeClr val="accent2">
                    <a:lumMod val="50000"/>
                  </a:schemeClr>
                </a:solidFill>
                <a:latin typeface="Google Sans"/>
              </a:rPr>
              <a:t>100 </a:t>
            </a:r>
            <a:r>
              <a:rPr lang="pt-PT" sz="4800" b="1" dirty="0" err="1">
                <a:solidFill>
                  <a:schemeClr val="accent2">
                    <a:lumMod val="50000"/>
                  </a:schemeClr>
                </a:solidFill>
                <a:latin typeface="Google Sans"/>
              </a:rPr>
              <a:t>Bilions</a:t>
            </a:r>
            <a:endParaRPr lang="pt-PT" sz="48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8A7AFE12-4A83-BBA2-9070-37157C31E9BD}"/>
              </a:ext>
            </a:extLst>
          </p:cNvPr>
          <p:cNvSpPr txBox="1"/>
          <p:nvPr/>
        </p:nvSpPr>
        <p:spPr>
          <a:xfrm>
            <a:off x="8578636" y="1996850"/>
            <a:ext cx="24627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>
                <a:solidFill>
                  <a:srgbClr val="1F1F1F"/>
                </a:solidFill>
                <a:effectLst/>
                <a:latin typeface="Google Sans"/>
              </a:rPr>
              <a:t>Daily transaction volume</a:t>
            </a:r>
            <a:endParaRPr lang="pt-PT" sz="1400" dirty="0"/>
          </a:p>
        </p:txBody>
      </p:sp>
      <p:graphicFrame>
        <p:nvGraphicFramePr>
          <p:cNvPr id="2110" name="Chart 3">
            <a:extLst>
              <a:ext uri="{FF2B5EF4-FFF2-40B4-BE49-F238E27FC236}">
                <a16:creationId xmlns:a16="http://schemas.microsoft.com/office/drawing/2014/main" id="{91690432-8A2B-DDC0-25DC-1E1AFA2C3D8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7882337"/>
              </p:ext>
            </p:extLst>
          </p:nvPr>
        </p:nvGraphicFramePr>
        <p:xfrm>
          <a:off x="39688" y="2516188"/>
          <a:ext cx="4391025" cy="16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42" name="Marcador de Posição do Texto 2">
            <a:extLst>
              <a:ext uri="{FF2B5EF4-FFF2-40B4-BE49-F238E27FC236}">
                <a16:creationId xmlns:a16="http://schemas.microsoft.com/office/drawing/2014/main" id="{A8475C40-C454-869D-20DB-3C44E3755CF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85763" y="4092575"/>
            <a:ext cx="319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717223C-9D19-4D3F-ADDF-EE19EDD88898}" type="datetime'''''B''''''''''''''''T''''''''''''''''''C'''''''''''''''''">
              <a:rPr lang="pt-PT" altLang="en-US" sz="1400" smtClean="0"/>
              <a:pPr/>
              <a:t>BTC</a:t>
            </a:fld>
            <a:endParaRPr lang="pt-PT" sz="1400" dirty="0"/>
          </a:p>
        </p:txBody>
      </p:sp>
      <p:sp>
        <p:nvSpPr>
          <p:cNvPr id="52" name="Marcador de Posição do Texto 2">
            <a:extLst>
              <a:ext uri="{FF2B5EF4-FFF2-40B4-BE49-F238E27FC236}">
                <a16:creationId xmlns:a16="http://schemas.microsoft.com/office/drawing/2014/main" id="{D6B2EF5F-1998-65BB-1AF5-5FBFE4AA935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228725" y="409257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FF563B-A38D-4A06-977B-3032943E27FB}" type="datetime'''''ET''''''''''''H'''''''''''''''''''''''''''''''''''''">
              <a:rPr lang="pt-PT" altLang="en-US" sz="1400" smtClean="0"/>
              <a:pPr/>
              <a:t>ETH</a:t>
            </a:fld>
            <a:endParaRPr lang="pt-PT" sz="1400" dirty="0"/>
          </a:p>
        </p:txBody>
      </p:sp>
      <p:sp>
        <p:nvSpPr>
          <p:cNvPr id="55" name="Marcador de Posição do Texto 2">
            <a:extLst>
              <a:ext uri="{FF2B5EF4-FFF2-40B4-BE49-F238E27FC236}">
                <a16:creationId xmlns:a16="http://schemas.microsoft.com/office/drawing/2014/main" id="{1F003E31-3E2E-46F8-E74E-D4D94BDF924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017713" y="4092575"/>
            <a:ext cx="4365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4E68F5-6267-4E00-9C20-9377E5EDBC09}" type="datetime'US''DT'''''">
              <a:rPr lang="pt-PT" altLang="en-US" sz="1400" smtClean="0"/>
              <a:pPr/>
              <a:t>USDT</a:t>
            </a:fld>
            <a:endParaRPr lang="pt-PT" sz="1400" dirty="0"/>
          </a:p>
        </p:txBody>
      </p:sp>
      <p:sp>
        <p:nvSpPr>
          <p:cNvPr id="58" name="Marcador de Posição do Texto 2">
            <a:extLst>
              <a:ext uri="{FF2B5EF4-FFF2-40B4-BE49-F238E27FC236}">
                <a16:creationId xmlns:a16="http://schemas.microsoft.com/office/drawing/2014/main" id="{E0FA8873-2C3A-2E4D-C5CD-FAA36BF152F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903538" y="4092575"/>
            <a:ext cx="354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EF67D2-6161-499E-848E-39980FBE8731}" type="datetime'B''''''''''''''''''''''N''''''''''''''''''''''''''B'''''">
              <a:rPr lang="pt-PT" altLang="en-US" sz="1400" smtClean="0"/>
              <a:pPr/>
              <a:t>BNB</a:t>
            </a:fld>
            <a:endParaRPr lang="pt-PT" sz="1400" dirty="0"/>
          </a:p>
        </p:txBody>
      </p:sp>
      <p:sp>
        <p:nvSpPr>
          <p:cNvPr id="61" name="Marcador de Posição do Texto 2">
            <a:extLst>
              <a:ext uri="{FF2B5EF4-FFF2-40B4-BE49-F238E27FC236}">
                <a16:creationId xmlns:a16="http://schemas.microsoft.com/office/drawing/2014/main" id="{F90FAE90-F367-0045-AC5E-8929B70CB59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760788" y="4092575"/>
            <a:ext cx="331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14FD2EF-EE72-448D-B1DB-89129B49F7CD}" type="datetime'''S''O''''''''''L'''''''''''">
              <a:rPr lang="pt-PT" altLang="en-US" sz="1400" smtClean="0"/>
              <a:pPr/>
              <a:t>SOL</a:t>
            </a:fld>
            <a:endParaRPr lang="pt-PT" sz="1400" dirty="0"/>
          </a:p>
        </p:txBody>
      </p:sp>
      <p:sp>
        <p:nvSpPr>
          <p:cNvPr id="2075" name="Marcador de Posição do Texto 2">
            <a:extLst>
              <a:ext uri="{FF2B5EF4-FFF2-40B4-BE49-F238E27FC236}">
                <a16:creationId xmlns:a16="http://schemas.microsoft.com/office/drawing/2014/main" id="{A8475C40-C454-869D-20DB-3C44E3755CF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20788" y="3448050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D79342-39A5-453B-95CF-C052E59AD6A6}" type="datetime'''''''''''''''''''''''''''''''''''''''''''''''''''28''''5'">
              <a:rPr lang="pt-PT" altLang="en-US" sz="1400" smtClean="0"/>
              <a:pPr/>
              <a:t>285</a:t>
            </a:fld>
            <a:endParaRPr lang="pt-PT" sz="1400" dirty="0"/>
          </a:p>
        </p:txBody>
      </p:sp>
      <p:sp>
        <p:nvSpPr>
          <p:cNvPr id="2079" name="Marcador de Posição do Texto 2">
            <a:extLst>
              <a:ext uri="{FF2B5EF4-FFF2-40B4-BE49-F238E27FC236}">
                <a16:creationId xmlns:a16="http://schemas.microsoft.com/office/drawing/2014/main" id="{A8475C40-C454-869D-20DB-3C44E3755CF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03213" y="2381250"/>
            <a:ext cx="482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2ED68E-954E-4207-A76A-C50740C12ED9}" type="datetime'1''''''''''''.''''''1''''''1''0'''''''''''''''''''''''''''''">
              <a:rPr lang="pt-PT" altLang="en-US" sz="1400" smtClean="0"/>
              <a:pPr/>
              <a:t>1.110</a:t>
            </a:fld>
            <a:endParaRPr lang="pt-PT" sz="1400" dirty="0"/>
          </a:p>
        </p:txBody>
      </p:sp>
      <p:sp>
        <p:nvSpPr>
          <p:cNvPr id="2080" name="Marcador de Posição do Texto 2">
            <a:extLst>
              <a:ext uri="{FF2B5EF4-FFF2-40B4-BE49-F238E27FC236}">
                <a16:creationId xmlns:a16="http://schemas.microsoft.com/office/drawing/2014/main" id="{A8475C40-C454-869D-20DB-3C44E3755CF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066925" y="3663950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1541E4-9B4C-47BF-ACF2-7A4764F5F4B0}" type="datetime'''''''''''''''''''''''''''''''''''''''''''''''118'">
              <a:rPr lang="pt-PT" altLang="en-US" sz="1400" smtClean="0"/>
              <a:pPr/>
              <a:t>118</a:t>
            </a:fld>
            <a:endParaRPr lang="pt-PT" sz="1400" dirty="0"/>
          </a:p>
        </p:txBody>
      </p:sp>
      <p:sp>
        <p:nvSpPr>
          <p:cNvPr id="2081" name="Marcador de Posição do Texto 2">
            <a:extLst>
              <a:ext uri="{FF2B5EF4-FFF2-40B4-BE49-F238E27FC236}">
                <a16:creationId xmlns:a16="http://schemas.microsoft.com/office/drawing/2014/main" id="{A8475C40-C454-869D-20DB-3C44E3755CF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959100" y="3722688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8CC058-915D-41B9-99F8-238831FD2507}" type="datetime'''''''''''''''''''''''''''''''''''''''''''''''7''''''''3'''">
              <a:rPr lang="pt-PT" altLang="en-US" sz="1400" smtClean="0"/>
              <a:pPr/>
              <a:t>73</a:t>
            </a:fld>
            <a:endParaRPr lang="pt-PT" sz="1400" dirty="0"/>
          </a:p>
        </p:txBody>
      </p:sp>
      <p:sp>
        <p:nvSpPr>
          <p:cNvPr id="2082" name="Marcador de Posição do Texto 2">
            <a:extLst>
              <a:ext uri="{FF2B5EF4-FFF2-40B4-BE49-F238E27FC236}">
                <a16:creationId xmlns:a16="http://schemas.microsoft.com/office/drawing/2014/main" id="{A8475C40-C454-869D-20DB-3C44E3755CF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805238" y="3738563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24A9E69-2DE0-4BAC-9088-0A38F0FCB479}" type="datetime'''''''''''''''''6''''''''0'''''''''''''''''''''''''''''''''''">
              <a:rPr lang="pt-PT" altLang="en-US" sz="1400" smtClean="0"/>
              <a:pPr/>
              <a:t>60</a:t>
            </a:fld>
            <a:endParaRPr lang="pt-PT" sz="1400" dirty="0"/>
          </a:p>
        </p:txBody>
      </p:sp>
      <p:pic>
        <p:nvPicPr>
          <p:cNvPr id="2054" name="Picture 6" descr="Bitcoin">
            <a:extLst>
              <a:ext uri="{FF2B5EF4-FFF2-40B4-BE49-F238E27FC236}">
                <a16:creationId xmlns:a16="http://schemas.microsoft.com/office/drawing/2014/main" id="{D84390C6-7BBD-107B-BCAA-B78E8BE07B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1" y="4100456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Ethereum">
            <a:extLst>
              <a:ext uri="{FF2B5EF4-FFF2-40B4-BE49-F238E27FC236}">
                <a16:creationId xmlns:a16="http://schemas.microsoft.com/office/drawing/2014/main" id="{D818191C-6BA5-61CE-AB39-0A6F16F27F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5619" y="4100456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Tether">
            <a:extLst>
              <a:ext uri="{FF2B5EF4-FFF2-40B4-BE49-F238E27FC236}">
                <a16:creationId xmlns:a16="http://schemas.microsoft.com/office/drawing/2014/main" id="{9E461666-C294-FB92-6CF7-1FAD69BB04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4276" y="4100456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BNB">
            <a:extLst>
              <a:ext uri="{FF2B5EF4-FFF2-40B4-BE49-F238E27FC236}">
                <a16:creationId xmlns:a16="http://schemas.microsoft.com/office/drawing/2014/main" id="{A155AC1E-91A7-859B-5818-47DE26B817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7551" y="4100456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Solana">
            <a:extLst>
              <a:ext uri="{FF2B5EF4-FFF2-40B4-BE49-F238E27FC236}">
                <a16:creationId xmlns:a16="http://schemas.microsoft.com/office/drawing/2014/main" id="{3EA2600D-D388-5E12-7EC7-23CB220721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2576" y="4100456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2" name="Imagem 2111">
            <a:extLst>
              <a:ext uri="{FF2B5EF4-FFF2-40B4-BE49-F238E27FC236}">
                <a16:creationId xmlns:a16="http://schemas.microsoft.com/office/drawing/2014/main" id="{8ED12858-C846-AEDB-FB54-88FE313D2202}"/>
              </a:ext>
            </a:extLst>
          </p:cNvPr>
          <p:cNvPicPr>
            <a:picLocks noChangeAspect="1"/>
          </p:cNvPicPr>
          <p:nvPr/>
        </p:nvPicPr>
        <p:blipFill>
          <a:blip r:embed="rId25"/>
          <a:srcRect t="2966" b="35841"/>
          <a:stretch/>
        </p:blipFill>
        <p:spPr>
          <a:xfrm>
            <a:off x="121806" y="4483100"/>
            <a:ext cx="4522603" cy="2214880"/>
          </a:xfrm>
          <a:prstGeom prst="rect">
            <a:avLst/>
          </a:prstGeom>
        </p:spPr>
      </p:pic>
      <p:pic>
        <p:nvPicPr>
          <p:cNvPr id="2118" name="Imagem 2117">
            <a:extLst>
              <a:ext uri="{FF2B5EF4-FFF2-40B4-BE49-F238E27FC236}">
                <a16:creationId xmlns:a16="http://schemas.microsoft.com/office/drawing/2014/main" id="{DCD94245-3A3B-E659-4DE3-E0F279B86FCA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4936151" y="2562450"/>
            <a:ext cx="7112358" cy="3941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7562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8EA9C2E-0A49-8BF2-DC81-AB857322CE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767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92" imgH="595" progId="TCLayout.ActiveDocument.1">
                  <p:embed/>
                </p:oleObj>
              </mc:Choice>
              <mc:Fallback>
                <p:oleObj name="Slide do think-cell" r:id="rId4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EA9C2E-0A49-8BF2-DC81-AB857322CE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aixaDeTexto 10">
            <a:extLst>
              <a:ext uri="{FF2B5EF4-FFF2-40B4-BE49-F238E27FC236}">
                <a16:creationId xmlns:a16="http://schemas.microsoft.com/office/drawing/2014/main" id="{A2F7C1E5-1AAC-7ECF-D581-ABDA7276397F}"/>
              </a:ext>
            </a:extLst>
          </p:cNvPr>
          <p:cNvSpPr txBox="1"/>
          <p:nvPr/>
        </p:nvSpPr>
        <p:spPr>
          <a:xfrm>
            <a:off x="6007100" y="947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USINESS OPPORTUNITIES &amp; HYPOTESIS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2869357-03E6-D9E5-0EC0-8F719DD7E26B}"/>
              </a:ext>
            </a:extLst>
          </p:cNvPr>
          <p:cNvSpPr txBox="1"/>
          <p:nvPr/>
        </p:nvSpPr>
        <p:spPr>
          <a:xfrm>
            <a:off x="361950" y="1298575"/>
            <a:ext cx="5734050" cy="27699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FFC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</a:t>
            </a:r>
            <a:r>
              <a:rPr lang="en-GB" sz="2000" b="1" dirty="0" err="1">
                <a:solidFill>
                  <a:srgbClr val="FFC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siness</a:t>
            </a:r>
            <a:r>
              <a:rPr lang="en-GB" sz="2000" b="1" dirty="0">
                <a:solidFill>
                  <a:srgbClr val="FFC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roblems and opportunities</a:t>
            </a:r>
            <a:endParaRPr lang="en-US" sz="2000" b="1" dirty="0">
              <a:solidFill>
                <a:srgbClr val="FFC000"/>
              </a:solidFill>
            </a:endParaRPr>
          </a:p>
          <a:p>
            <a:pPr marL="400050" indent="-400050">
              <a:buFont typeface="+mj-lt"/>
              <a:buAutoNum type="romanUcPeriod"/>
            </a:pPr>
            <a:r>
              <a:rPr lang="en-US" sz="1400" dirty="0"/>
              <a:t>Unpredictable price movements lead to difficulty in timing market entry and exit.</a:t>
            </a:r>
          </a:p>
          <a:p>
            <a:pPr marL="400050" indent="-400050">
              <a:buFont typeface="+mj-lt"/>
              <a:buAutoNum type="romanUcPeriod"/>
            </a:pPr>
            <a:r>
              <a:rPr lang="en-US" sz="1400" dirty="0"/>
              <a:t>Overexposure to highly correlated cryptocurrencies leads to poor diversification.</a:t>
            </a:r>
          </a:p>
          <a:p>
            <a:pPr marL="400050" indent="-400050">
              <a:buFont typeface="+mj-lt"/>
              <a:buAutoNum type="romanUcPeriod"/>
            </a:pPr>
            <a:r>
              <a:rPr lang="en-US" sz="1400" dirty="0"/>
              <a:t>Simple price predictions often generate false buy/sell signals.</a:t>
            </a:r>
          </a:p>
          <a:p>
            <a:pPr marL="400050" indent="-400050">
              <a:buFont typeface="+mj-lt"/>
              <a:buAutoNum type="romanUcPeriod"/>
            </a:pPr>
            <a:r>
              <a:rPr lang="en-US" sz="1400" dirty="0"/>
              <a:t>Trading without stop-loss and take-profit levels can lead to large drawdowns.</a:t>
            </a:r>
          </a:p>
          <a:p>
            <a:pPr marL="400050" indent="-400050">
              <a:buFont typeface="+mj-lt"/>
              <a:buAutoNum type="romanUcPeriod"/>
            </a:pPr>
            <a:r>
              <a:rPr lang="en-US" sz="1400" dirty="0"/>
              <a:t>Manual trading decisions are prone to emotional biases and can’t capture 24/7 market opportunities.</a:t>
            </a:r>
          </a:p>
          <a:p>
            <a:pPr marL="400050" indent="-400050">
              <a:buFont typeface="+mj-lt"/>
              <a:buAutoNum type="romanUcPeriod"/>
            </a:pPr>
            <a:r>
              <a:rPr lang="en-US" sz="1400" dirty="0"/>
              <a:t>Automating the strategy will ensure consistent, objective trading, leading to improved overall performance.</a:t>
            </a:r>
            <a:endParaRPr lang="pt-PT" sz="1400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F982839-43CF-647B-B191-9E27711CCFBB}"/>
              </a:ext>
            </a:extLst>
          </p:cNvPr>
          <p:cNvSpPr txBox="1"/>
          <p:nvPr/>
        </p:nvSpPr>
        <p:spPr>
          <a:xfrm>
            <a:off x="361950" y="4578052"/>
            <a:ext cx="5734050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 err="1">
                <a:solidFill>
                  <a:srgbClr val="FFC000"/>
                </a:solidFill>
              </a:rPr>
              <a:t>Hypotesis</a:t>
            </a:r>
            <a:endParaRPr lang="en-US" sz="2000" b="1" dirty="0">
              <a:solidFill>
                <a:srgbClr val="FFC000"/>
              </a:solidFill>
            </a:endParaRPr>
          </a:p>
          <a:p>
            <a:pPr marL="400050" indent="-400050">
              <a:buFont typeface="+mj-lt"/>
              <a:buAutoNum type="romanUcPeriod"/>
            </a:pPr>
            <a:r>
              <a:rPr lang="en-US" sz="1400" dirty="0"/>
              <a:t>Machine learning predictions will improve the accuracy of price forecasts, enabling better trade execution..</a:t>
            </a:r>
          </a:p>
          <a:p>
            <a:pPr marL="400050" indent="-400050">
              <a:buFont typeface="+mj-lt"/>
              <a:buAutoNum type="romanUcPeriod"/>
            </a:pPr>
            <a:r>
              <a:rPr lang="en-US" sz="1400"/>
              <a:t>Trading </a:t>
            </a:r>
            <a:r>
              <a:rPr lang="en-US" sz="1400" dirty="0"/>
              <a:t>on weaker correlations can reduce risk and increase portfolio stability.</a:t>
            </a:r>
          </a:p>
          <a:p>
            <a:pPr marL="400050" indent="-400050">
              <a:buFont typeface="+mj-lt"/>
              <a:buAutoNum type="romanUcPeriod"/>
            </a:pPr>
            <a:r>
              <a:rPr lang="en-US" sz="1400" dirty="0"/>
              <a:t>Combining machine learning predictions with technical indicators will reduce false signals and enhance strategy performance.</a:t>
            </a:r>
          </a:p>
          <a:p>
            <a:pPr marL="400050" indent="-400050">
              <a:buFont typeface="+mj-lt"/>
              <a:buAutoNum type="romanUcPeriod"/>
            </a:pPr>
            <a:r>
              <a:rPr lang="en-US" sz="1400" dirty="0"/>
              <a:t>Risk management techniques will reduce drawdowns and increase overall portfolio value.</a:t>
            </a:r>
            <a:endParaRPr lang="pt-PT" sz="1400" dirty="0"/>
          </a:p>
        </p:txBody>
      </p:sp>
      <p:sp>
        <p:nvSpPr>
          <p:cNvPr id="13" name="AutoShape 8" descr="What are the difficulties with problem-solving? | Klaxoon">
            <a:extLst>
              <a:ext uri="{FF2B5EF4-FFF2-40B4-BE49-F238E27FC236}">
                <a16:creationId xmlns:a16="http://schemas.microsoft.com/office/drawing/2014/main" id="{A6E54881-8EF6-7A77-15E4-805D7F1DD25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PT"/>
          </a:p>
        </p:txBody>
      </p:sp>
      <p:pic>
        <p:nvPicPr>
          <p:cNvPr id="3082" name="Picture 10" descr="Hypothesis - Free education icons">
            <a:extLst>
              <a:ext uri="{FF2B5EF4-FFF2-40B4-BE49-F238E27FC236}">
                <a16:creationId xmlns:a16="http://schemas.microsoft.com/office/drawing/2014/main" id="{87D55F96-6D90-1408-4C2F-5AD9CC07F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3500" y="1193800"/>
            <a:ext cx="5384800" cy="538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21267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52706A-05B4-CB56-EFB2-864C212EE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592" imgH="595" progId="TCLayout.ActiveDocument.1">
                  <p:embed/>
                </p:oleObj>
              </mc:Choice>
              <mc:Fallback>
                <p:oleObj name="Slide do think-cell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52706A-05B4-CB56-EFB2-864C212EE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B552AC29-4338-F4F9-B9AD-06C68BB68108}"/>
              </a:ext>
            </a:extLst>
          </p:cNvPr>
          <p:cNvSpPr txBox="1"/>
          <p:nvPr/>
        </p:nvSpPr>
        <p:spPr>
          <a:xfrm>
            <a:off x="6007100" y="947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WRANGLING, CLEANING &amp; EDA</a:t>
            </a:r>
            <a:endParaRPr lang="pt-PT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6" name="Agrupar 35">
            <a:extLst>
              <a:ext uri="{FF2B5EF4-FFF2-40B4-BE49-F238E27FC236}">
                <a16:creationId xmlns:a16="http://schemas.microsoft.com/office/drawing/2014/main" id="{29CBE09A-11A0-DE4E-E8DE-B3E5F6488215}"/>
              </a:ext>
            </a:extLst>
          </p:cNvPr>
          <p:cNvGrpSpPr/>
          <p:nvPr/>
        </p:nvGrpSpPr>
        <p:grpSpPr>
          <a:xfrm>
            <a:off x="811648" y="911348"/>
            <a:ext cx="3095337" cy="4560445"/>
            <a:chOff x="458354" y="911348"/>
            <a:chExt cx="3095337" cy="4560445"/>
          </a:xfrm>
        </p:grpSpPr>
        <p:sp>
          <p:nvSpPr>
            <p:cNvPr id="3" name="CaixaDeTexto 2">
              <a:extLst>
                <a:ext uri="{FF2B5EF4-FFF2-40B4-BE49-F238E27FC236}">
                  <a16:creationId xmlns:a16="http://schemas.microsoft.com/office/drawing/2014/main" id="{DECDDDA8-BA2C-6CDA-3BC0-A867EDE6BE79}"/>
                </a:ext>
              </a:extLst>
            </p:cNvPr>
            <p:cNvSpPr txBox="1"/>
            <p:nvPr/>
          </p:nvSpPr>
          <p:spPr>
            <a:xfrm>
              <a:off x="458355" y="2978803"/>
              <a:ext cx="3095336" cy="249299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ins</a:t>
              </a:r>
              <a:r>
                <a:rPr lang="en-US" sz="12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Data was collected for the following cryptocurrencies: BTC, ETH, ADA, DOGE, XRP, LTC, LINK, XLM.</a:t>
              </a:r>
            </a:p>
            <a:p>
              <a:endPara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pt-PT" altLang="pt-PT" sz="12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imeframes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Data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was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itially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athered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rom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2018 to 31st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ugust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2024,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cross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e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ollowing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time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tervals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1 min, 5 min, 15 min, 30 min, 1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hour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4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hours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8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hours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d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1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y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endParaRPr kumimoji="0" lang="pt-PT" altLang="pt-PT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pt-PT" altLang="pt-PT" sz="1200" b="1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urpose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is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variety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of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imeframes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was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tended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to capture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both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hort-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erm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ice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ovements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d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long-term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rends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for training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e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pt-PT" altLang="pt-PT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odels</a:t>
              </a:r>
              <a:r>
                <a:rPr kumimoji="0" lang="pt-PT" altLang="pt-PT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 </a:t>
              </a:r>
            </a:p>
          </p:txBody>
        </p:sp>
        <p:pic>
          <p:nvPicPr>
            <p:cNvPr id="9220" name="Picture 4" descr="With gift bitcoin coin character cartoon Vector Image">
              <a:extLst>
                <a:ext uri="{FF2B5EF4-FFF2-40B4-BE49-F238E27FC236}">
                  <a16:creationId xmlns:a16="http://schemas.microsoft.com/office/drawing/2014/main" id="{DAB685E8-1BBC-23CC-D248-A101A989714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727" b="28182"/>
            <a:stretch/>
          </p:blipFill>
          <p:spPr bwMode="auto">
            <a:xfrm>
              <a:off x="458355" y="1219125"/>
              <a:ext cx="3095336" cy="17596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072A0A29-DFFF-DF37-5ADF-1E5F50818CFF}"/>
                </a:ext>
              </a:extLst>
            </p:cNvPr>
            <p:cNvSpPr txBox="1"/>
            <p:nvPr/>
          </p:nvSpPr>
          <p:spPr>
            <a:xfrm>
              <a:off x="458354" y="911348"/>
              <a:ext cx="298800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PT" sz="1400" b="1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itial</a:t>
              </a:r>
              <a:r>
                <a:rPr lang="pt-PT" sz="1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Data </a:t>
              </a:r>
              <a:r>
                <a:rPr lang="pt-PT" sz="1400" b="1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llected</a:t>
              </a:r>
              <a:endParaRPr lang="pt-PT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F408E6E3-CA35-720A-BF91-3636B684AD92}"/>
              </a:ext>
            </a:extLst>
          </p:cNvPr>
          <p:cNvGrpSpPr/>
          <p:nvPr/>
        </p:nvGrpSpPr>
        <p:grpSpPr>
          <a:xfrm>
            <a:off x="4562767" y="911348"/>
            <a:ext cx="3095336" cy="3637115"/>
            <a:chOff x="3752269" y="911348"/>
            <a:chExt cx="3095336" cy="3637115"/>
          </a:xfrm>
        </p:grpSpPr>
        <p:pic>
          <p:nvPicPr>
            <p:cNvPr id="9223" name="Picture 7" descr="Data compression - Free computer icons">
              <a:extLst>
                <a:ext uri="{FF2B5EF4-FFF2-40B4-BE49-F238E27FC236}">
                  <a16:creationId xmlns:a16="http://schemas.microsoft.com/office/drawing/2014/main" id="{51598BCA-2F54-FDDB-6EEB-CBEB9B3FCB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2271" y="1219126"/>
              <a:ext cx="3095334" cy="17596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55944E6D-0942-F6CB-2E9E-EA61B47122CA}"/>
                </a:ext>
              </a:extLst>
            </p:cNvPr>
            <p:cNvSpPr txBox="1"/>
            <p:nvPr/>
          </p:nvSpPr>
          <p:spPr>
            <a:xfrm>
              <a:off x="3752269" y="911348"/>
              <a:ext cx="298800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PT" sz="1400" b="1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itial</a:t>
              </a:r>
              <a:r>
                <a:rPr lang="pt-PT" sz="1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pt-PT" sz="1400" b="1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hallenge</a:t>
              </a:r>
              <a:endParaRPr lang="pt-PT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" name="CaixaDeTexto 15">
              <a:extLst>
                <a:ext uri="{FF2B5EF4-FFF2-40B4-BE49-F238E27FC236}">
                  <a16:creationId xmlns:a16="http://schemas.microsoft.com/office/drawing/2014/main" id="{39B6C04C-A6AE-9949-7021-8BC8083B575B}"/>
                </a:ext>
              </a:extLst>
            </p:cNvPr>
            <p:cNvSpPr txBox="1"/>
            <p:nvPr/>
          </p:nvSpPr>
          <p:spPr>
            <a:xfrm>
              <a:off x="3752269" y="2978803"/>
              <a:ext cx="3095336" cy="15696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e amount of data collected for the initial time range (2018-2024) and granularity (1-minute, 5-minute, etc.) resulted in </a:t>
              </a:r>
              <a:r>
                <a:rPr lang="en-US" sz="12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large datasets</a:t>
              </a:r>
              <a:r>
                <a:rPr lang="en-US" sz="12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that required extensive computational resources and time to train the machine learning models.</a:t>
              </a:r>
            </a:p>
            <a:p>
              <a:endParaRPr kumimoji="0" lang="en-US" altLang="pt-PT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endParaRPr kumimoji="0" lang="pt-PT" altLang="pt-PT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5" name="Agrupar 34">
            <a:extLst>
              <a:ext uri="{FF2B5EF4-FFF2-40B4-BE49-F238E27FC236}">
                <a16:creationId xmlns:a16="http://schemas.microsoft.com/office/drawing/2014/main" id="{E6FAFD6F-219E-1E9E-90CC-2DD472285B9B}"/>
              </a:ext>
            </a:extLst>
          </p:cNvPr>
          <p:cNvGrpSpPr/>
          <p:nvPr/>
        </p:nvGrpSpPr>
        <p:grpSpPr>
          <a:xfrm>
            <a:off x="8209966" y="907910"/>
            <a:ext cx="3095338" cy="4933215"/>
            <a:chOff x="8199575" y="907910"/>
            <a:chExt cx="3095338" cy="4933215"/>
          </a:xfrm>
        </p:grpSpPr>
        <p:sp>
          <p:nvSpPr>
            <p:cNvPr id="29" name="CaixaDeTexto 28">
              <a:extLst>
                <a:ext uri="{FF2B5EF4-FFF2-40B4-BE49-F238E27FC236}">
                  <a16:creationId xmlns:a16="http://schemas.microsoft.com/office/drawing/2014/main" id="{0C107367-C1A4-F7D1-6C31-FB9A1A526F6F}"/>
                </a:ext>
              </a:extLst>
            </p:cNvPr>
            <p:cNvSpPr txBox="1"/>
            <p:nvPr/>
          </p:nvSpPr>
          <p:spPr>
            <a:xfrm>
              <a:off x="8199577" y="2978803"/>
              <a:ext cx="3095336" cy="286232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djusted Data </a:t>
              </a:r>
              <a:r>
                <a:rPr lang="en-US" sz="1200" b="1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llection</a:t>
              </a:r>
              <a:r>
                <a:rPr lang="en-US" sz="1200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</a:t>
              </a:r>
              <a:r>
                <a:rPr lang="en-US" sz="1200" b="1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utoff</a:t>
              </a:r>
              <a:r>
                <a:rPr lang="en-US" sz="12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Period</a:t>
              </a:r>
              <a:r>
                <a:rPr lang="en-US" sz="12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To improve model training efficiency, the date range was adjusted to </a:t>
              </a:r>
              <a:r>
                <a:rPr lang="en-US" sz="12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22 to 31st August 2024</a:t>
              </a:r>
              <a:r>
                <a:rPr lang="en-US" sz="12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</a:t>
              </a:r>
            </a:p>
            <a:p>
              <a:pPr>
                <a:buFont typeface="Arial" panose="020B0604020202020204" pitchFamily="34" charset="0"/>
                <a:buChar char="•"/>
              </a:pPr>
              <a:endPara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sz="12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hosen Interval</a:t>
              </a:r>
              <a:r>
                <a:rPr lang="en-US" sz="12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The 4-hour interval was selected to balance the need for data granularity with computational efficiency.</a:t>
              </a:r>
            </a:p>
            <a:p>
              <a:pPr>
                <a:buFont typeface="Arial" panose="020B0604020202020204" pitchFamily="34" charset="0"/>
                <a:buChar char="•"/>
              </a:pPr>
              <a:endPara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sz="12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inal Dataset Size</a:t>
              </a:r>
              <a:r>
                <a:rPr lang="en-US" sz="12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 The final dataset size for each coin resulted in </a:t>
              </a:r>
              <a:r>
                <a:rPr lang="en-US" sz="12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5,831 rows</a:t>
              </a:r>
              <a:r>
                <a:rPr lang="en-US" sz="12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and </a:t>
              </a:r>
              <a:r>
                <a:rPr lang="en-US" sz="12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0 columns</a:t>
              </a:r>
              <a:r>
                <a:rPr lang="en-US" sz="12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(including technical indicators, lagged features, and other predictors).</a:t>
              </a:r>
            </a:p>
            <a:p>
              <a:endParaRPr kumimoji="0" lang="en-US" altLang="pt-PT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endParaRPr kumimoji="0" lang="pt-PT" altLang="pt-PT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9232" name="Picture 16" descr="Data Cleaning: The Most Important Step in Machine Learning">
              <a:extLst>
                <a:ext uri="{FF2B5EF4-FFF2-40B4-BE49-F238E27FC236}">
                  <a16:creationId xmlns:a16="http://schemas.microsoft.com/office/drawing/2014/main" id="{EABF5F94-6E15-531E-46D7-1CAC4BEB67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9577" y="1217406"/>
              <a:ext cx="3095334" cy="17596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CaixaDeTexto 32">
              <a:extLst>
                <a:ext uri="{FF2B5EF4-FFF2-40B4-BE49-F238E27FC236}">
                  <a16:creationId xmlns:a16="http://schemas.microsoft.com/office/drawing/2014/main" id="{0CEB79BB-D062-3891-7E8A-1CD7371BAD88}"/>
                </a:ext>
              </a:extLst>
            </p:cNvPr>
            <p:cNvSpPr txBox="1"/>
            <p:nvPr/>
          </p:nvSpPr>
          <p:spPr>
            <a:xfrm>
              <a:off x="8199575" y="907910"/>
              <a:ext cx="298800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PT" sz="1400" b="1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efined</a:t>
              </a:r>
              <a:r>
                <a:rPr lang="pt-PT" sz="1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pt-PT" sz="1400" b="1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pproach</a:t>
              </a:r>
              <a:endParaRPr lang="pt-PT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5043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52706A-05B4-CB56-EFB2-864C212EE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0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592" imgH="595" progId="TCLayout.ActiveDocument.1">
                  <p:embed/>
                </p:oleObj>
              </mc:Choice>
              <mc:Fallback>
                <p:oleObj name="Slide do think-cell" r:id="rId3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52706A-05B4-CB56-EFB2-864C212EE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B552AC29-4338-F4F9-B9AD-06C68BB68108}"/>
              </a:ext>
            </a:extLst>
          </p:cNvPr>
          <p:cNvSpPr txBox="1"/>
          <p:nvPr/>
        </p:nvSpPr>
        <p:spPr>
          <a:xfrm>
            <a:off x="6007100" y="947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WRANGLING, CLEANING &amp; EDA</a:t>
            </a:r>
            <a:endParaRPr lang="pt-PT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C8089B0D-341B-4AAE-2EBA-03C7F48B76C5}"/>
              </a:ext>
            </a:extLst>
          </p:cNvPr>
          <p:cNvGrpSpPr/>
          <p:nvPr/>
        </p:nvGrpSpPr>
        <p:grpSpPr>
          <a:xfrm>
            <a:off x="4303059" y="4811909"/>
            <a:ext cx="1440000" cy="1869932"/>
            <a:chOff x="10195859" y="4850009"/>
            <a:chExt cx="1440000" cy="1869932"/>
          </a:xfrm>
        </p:grpSpPr>
        <p:pic>
          <p:nvPicPr>
            <p:cNvPr id="7" name="Picture 12" descr="Transaction history - Free business and finance icons">
              <a:extLst>
                <a:ext uri="{FF2B5EF4-FFF2-40B4-BE49-F238E27FC236}">
                  <a16:creationId xmlns:a16="http://schemas.microsoft.com/office/drawing/2014/main" id="{88BC733F-B4B1-DD7B-D29F-F43C17D7B1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25459" y="4850009"/>
              <a:ext cx="1180800" cy="1180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CaixaDeTexto 7">
              <a:extLst>
                <a:ext uri="{FF2B5EF4-FFF2-40B4-BE49-F238E27FC236}">
                  <a16:creationId xmlns:a16="http://schemas.microsoft.com/office/drawing/2014/main" id="{97EBF24B-37C4-71BF-B1A8-6745F8EBC43C}"/>
                </a:ext>
              </a:extLst>
            </p:cNvPr>
            <p:cNvSpPr txBox="1"/>
            <p:nvPr/>
          </p:nvSpPr>
          <p:spPr>
            <a:xfrm>
              <a:off x="10195859" y="6165943"/>
              <a:ext cx="1440000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000" dirty="0"/>
                <a:t>Articulate features for prediction based on a prediction</a:t>
              </a:r>
              <a:endParaRPr lang="pt-PT" sz="1000" dirty="0"/>
            </a:p>
          </p:txBody>
        </p:sp>
      </p:grp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2E1428F6-0AA3-AD38-CF5C-4925904B8F6B}"/>
              </a:ext>
            </a:extLst>
          </p:cNvPr>
          <p:cNvGrpSpPr/>
          <p:nvPr/>
        </p:nvGrpSpPr>
        <p:grpSpPr>
          <a:xfrm>
            <a:off x="2962228" y="4811909"/>
            <a:ext cx="1180802" cy="1716044"/>
            <a:chOff x="4501728" y="4850009"/>
            <a:chExt cx="1180802" cy="1716044"/>
          </a:xfrm>
        </p:grpSpPr>
        <p:pic>
          <p:nvPicPr>
            <p:cNvPr id="13" name="Picture 6" descr="Data integration - Free security icons">
              <a:extLst>
                <a:ext uri="{FF2B5EF4-FFF2-40B4-BE49-F238E27FC236}">
                  <a16:creationId xmlns:a16="http://schemas.microsoft.com/office/drawing/2014/main" id="{4710AC1D-F78F-0096-5286-0A49A48EF2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1730" y="4850009"/>
              <a:ext cx="1180800" cy="1180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688DC1E6-BEF9-920C-7ED9-718B6C6F747D}"/>
                </a:ext>
              </a:extLst>
            </p:cNvPr>
            <p:cNvSpPr txBox="1"/>
            <p:nvPr/>
          </p:nvSpPr>
          <p:spPr>
            <a:xfrm>
              <a:off x="4501728" y="6165943"/>
              <a:ext cx="1180801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00" dirty="0"/>
                <a:t>Data Integration and Compatibility</a:t>
              </a:r>
              <a:endParaRPr lang="pt-PT" sz="1000" dirty="0"/>
            </a:p>
          </p:txBody>
        </p:sp>
      </p:grp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0E4CE36E-1A31-6074-4D78-527528203230}"/>
              </a:ext>
            </a:extLst>
          </p:cNvPr>
          <p:cNvGrpSpPr/>
          <p:nvPr/>
        </p:nvGrpSpPr>
        <p:grpSpPr>
          <a:xfrm>
            <a:off x="1557377" y="4812643"/>
            <a:ext cx="1284162" cy="1715310"/>
            <a:chOff x="2522932" y="4850743"/>
            <a:chExt cx="1284162" cy="1715310"/>
          </a:xfrm>
        </p:grpSpPr>
        <p:pic>
          <p:nvPicPr>
            <p:cNvPr id="19" name="Picture 16" descr="Rate, limiting, server, filter icon - Download on Iconfinder">
              <a:extLst>
                <a:ext uri="{FF2B5EF4-FFF2-40B4-BE49-F238E27FC236}">
                  <a16:creationId xmlns:a16="http://schemas.microsoft.com/office/drawing/2014/main" id="{764760F3-0693-9AAE-0117-F6046D917C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76231" y="4850743"/>
              <a:ext cx="1180066" cy="11800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85C063EF-8E2F-1598-2172-C07BB4B26700}"/>
                </a:ext>
              </a:extLst>
            </p:cNvPr>
            <p:cNvSpPr txBox="1"/>
            <p:nvPr/>
          </p:nvSpPr>
          <p:spPr>
            <a:xfrm>
              <a:off x="2522932" y="6165943"/>
              <a:ext cx="128416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00" dirty="0"/>
                <a:t>API Rate Limits and Access Restrictions</a:t>
              </a:r>
              <a:endParaRPr lang="pt-PT" sz="1000" dirty="0"/>
            </a:p>
          </p:txBody>
        </p:sp>
      </p:grp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0F6CEC7F-9803-3B3F-1F61-8C110D51C289}"/>
              </a:ext>
            </a:extLst>
          </p:cNvPr>
          <p:cNvGrpSpPr/>
          <p:nvPr/>
        </p:nvGrpSpPr>
        <p:grpSpPr>
          <a:xfrm>
            <a:off x="243598" y="4811909"/>
            <a:ext cx="1193090" cy="1614444"/>
            <a:chOff x="649998" y="4850009"/>
            <a:chExt cx="1193090" cy="1614444"/>
          </a:xfrm>
        </p:grpSpPr>
        <p:pic>
          <p:nvPicPr>
            <p:cNvPr id="22" name="Picture 2" descr="Data quality - Free multimedia icons">
              <a:extLst>
                <a:ext uri="{FF2B5EF4-FFF2-40B4-BE49-F238E27FC236}">
                  <a16:creationId xmlns:a16="http://schemas.microsoft.com/office/drawing/2014/main" id="{0D7CD293-A70E-E5E2-142D-C1AFB4C8D8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998" y="4850009"/>
              <a:ext cx="1180800" cy="1180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96AA6899-6918-8F48-64C2-4EC5C27371E3}"/>
                </a:ext>
              </a:extLst>
            </p:cNvPr>
            <p:cNvSpPr txBox="1"/>
            <p:nvPr/>
          </p:nvSpPr>
          <p:spPr>
            <a:xfrm>
              <a:off x="664173" y="6064343"/>
              <a:ext cx="117891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000" dirty="0"/>
                <a:t>Data Quality and Consistency</a:t>
              </a:r>
              <a:endParaRPr lang="pt-PT" sz="1000" dirty="0"/>
            </a:p>
          </p:txBody>
        </p:sp>
      </p:grp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75B9A570-7CD7-C46E-05B7-B7FCAEFA783A}"/>
              </a:ext>
            </a:extLst>
          </p:cNvPr>
          <p:cNvSpPr txBox="1"/>
          <p:nvPr/>
        </p:nvSpPr>
        <p:spPr>
          <a:xfrm>
            <a:off x="256779" y="1622325"/>
            <a:ext cx="5470921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pt-PT" dirty="0" err="1"/>
              <a:t>Missing</a:t>
            </a:r>
            <a:r>
              <a:rPr lang="pt-PT" dirty="0"/>
              <a:t> </a:t>
            </a:r>
            <a:r>
              <a:rPr lang="pt-PT" dirty="0" err="1"/>
              <a:t>Values</a:t>
            </a:r>
            <a:r>
              <a:rPr lang="pt-PT" dirty="0"/>
              <a:t> Handling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PT" dirty="0" err="1"/>
              <a:t>Outlier</a:t>
            </a:r>
            <a:r>
              <a:rPr lang="pt-PT" dirty="0"/>
              <a:t> </a:t>
            </a:r>
            <a:r>
              <a:rPr lang="pt-PT" dirty="0" err="1"/>
              <a:t>Detection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Removal</a:t>
            </a:r>
            <a:endParaRPr lang="pt-PT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PT" dirty="0" err="1"/>
              <a:t>Feature</a:t>
            </a:r>
            <a:r>
              <a:rPr lang="pt-PT" dirty="0"/>
              <a:t> </a:t>
            </a:r>
            <a:r>
              <a:rPr lang="pt-PT" dirty="0" err="1"/>
              <a:t>Scaling</a:t>
            </a:r>
            <a:r>
              <a:rPr lang="pt-PT" dirty="0"/>
              <a:t>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Lag Features for Time Series Predic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Train-Test Split (Avoiding Data Leakage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PT" dirty="0" err="1"/>
              <a:t>Correlation</a:t>
            </a:r>
            <a:r>
              <a:rPr lang="pt-PT" dirty="0"/>
              <a:t> </a:t>
            </a:r>
            <a:r>
              <a:rPr lang="pt-PT" dirty="0" err="1"/>
              <a:t>Matrix</a:t>
            </a:r>
            <a:endParaRPr lang="pt-PT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PT" dirty="0" err="1"/>
              <a:t>Timestamp</a:t>
            </a:r>
            <a:r>
              <a:rPr lang="pt-PT" dirty="0"/>
              <a:t> </a:t>
            </a:r>
            <a:r>
              <a:rPr lang="pt-PT" dirty="0" err="1"/>
              <a:t>definition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Addressing Non-Stationarity (Time Series Analysi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PT" dirty="0" err="1"/>
              <a:t>Signal</a:t>
            </a:r>
            <a:r>
              <a:rPr lang="pt-PT" dirty="0"/>
              <a:t> </a:t>
            </a:r>
            <a:r>
              <a:rPr lang="pt-PT" dirty="0" err="1"/>
              <a:t>Generation</a:t>
            </a:r>
            <a:endParaRPr lang="pt-PT" dirty="0"/>
          </a:p>
        </p:txBody>
      </p:sp>
      <p:pic>
        <p:nvPicPr>
          <p:cNvPr id="26" name="Imagem 25">
            <a:extLst>
              <a:ext uri="{FF2B5EF4-FFF2-40B4-BE49-F238E27FC236}">
                <a16:creationId xmlns:a16="http://schemas.microsoft.com/office/drawing/2014/main" id="{9A2A27D1-3D29-B690-8691-96091629C1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95042" y="1358900"/>
            <a:ext cx="2893135" cy="1981200"/>
          </a:xfrm>
          <a:prstGeom prst="rect">
            <a:avLst/>
          </a:prstGeom>
        </p:spPr>
      </p:pic>
      <p:pic>
        <p:nvPicPr>
          <p:cNvPr id="28" name="Imagem 27">
            <a:extLst>
              <a:ext uri="{FF2B5EF4-FFF2-40B4-BE49-F238E27FC236}">
                <a16:creationId xmlns:a16="http://schemas.microsoft.com/office/drawing/2014/main" id="{88034B0D-DAC3-03D6-6CBB-75A86C7A3C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64767" y="3600131"/>
            <a:ext cx="2893135" cy="2181332"/>
          </a:xfrm>
          <a:prstGeom prst="rect">
            <a:avLst/>
          </a:prstGeom>
        </p:spPr>
      </p:pic>
      <p:pic>
        <p:nvPicPr>
          <p:cNvPr id="30" name="Imagem 29">
            <a:extLst>
              <a:ext uri="{FF2B5EF4-FFF2-40B4-BE49-F238E27FC236}">
                <a16:creationId xmlns:a16="http://schemas.microsoft.com/office/drawing/2014/main" id="{06D8312A-29A9-7B2B-BB02-73B16AB3872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32806" y="1358900"/>
            <a:ext cx="2691478" cy="1981200"/>
          </a:xfrm>
          <a:prstGeom prst="rect">
            <a:avLst/>
          </a:prstGeom>
        </p:spPr>
      </p:pic>
      <p:pic>
        <p:nvPicPr>
          <p:cNvPr id="32" name="Imagem 31">
            <a:extLst>
              <a:ext uri="{FF2B5EF4-FFF2-40B4-BE49-F238E27FC236}">
                <a16:creationId xmlns:a16="http://schemas.microsoft.com/office/drawing/2014/main" id="{7143E9B7-2399-D10F-7197-1D2ABCAF06A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32805" y="3600131"/>
            <a:ext cx="2817721" cy="2181332"/>
          </a:xfrm>
          <a:prstGeom prst="rect">
            <a:avLst/>
          </a:prstGeom>
        </p:spPr>
      </p:pic>
      <p:sp>
        <p:nvSpPr>
          <p:cNvPr id="35" name="CaixaDeTexto 34">
            <a:extLst>
              <a:ext uri="{FF2B5EF4-FFF2-40B4-BE49-F238E27FC236}">
                <a16:creationId xmlns:a16="http://schemas.microsoft.com/office/drawing/2014/main" id="{1681F0CC-6421-CE31-3AD5-B5D5F5909F00}"/>
              </a:ext>
            </a:extLst>
          </p:cNvPr>
          <p:cNvSpPr txBox="1"/>
          <p:nvPr/>
        </p:nvSpPr>
        <p:spPr>
          <a:xfrm>
            <a:off x="6096000" y="5933181"/>
            <a:ext cx="569217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fined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ata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ze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lowed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or </a:t>
            </a:r>
            <a:r>
              <a:rPr kumimoji="0" lang="pt-PT" altLang="pt-PT" sz="10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aster</a:t>
            </a:r>
            <a:r>
              <a:rPr kumimoji="0" lang="pt-PT" altLang="pt-PT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del</a:t>
            </a:r>
            <a:r>
              <a:rPr kumimoji="0" lang="pt-PT" altLang="pt-PT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raining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thout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crificing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ive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curacy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-hour </a:t>
            </a:r>
            <a:r>
              <a:rPr kumimoji="0" lang="pt-PT" altLang="pt-PT" sz="10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meframe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ill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vided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fficient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ranularity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o capture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ortant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ce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vements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hile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ducing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verall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utational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pt-PT" altLang="pt-PT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ad</a:t>
            </a:r>
            <a:r>
              <a:rPr kumimoji="0" lang="pt-PT" altLang="pt-PT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183793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52706A-05B4-CB56-EFB2-864C212EE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92" imgH="595" progId="TCLayout.ActiveDocument.1">
                  <p:embed/>
                </p:oleObj>
              </mc:Choice>
              <mc:Fallback>
                <p:oleObj name="Slide do think-cell" r:id="rId4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52706A-05B4-CB56-EFB2-864C212EE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B552AC29-4338-F4F9-B9AD-06C68BB68108}"/>
              </a:ext>
            </a:extLst>
          </p:cNvPr>
          <p:cNvSpPr txBox="1"/>
          <p:nvPr/>
        </p:nvSpPr>
        <p:spPr>
          <a:xfrm>
            <a:off x="6007100" y="947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CHINE LEARNING MODELS APPLIED, </a:t>
            </a:r>
            <a:endParaRPr lang="pt-PT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098" name="Picture 2" descr="DIFFERENT MACHINE LEARNING MODELS | by Deepika Yadav | Medium">
            <a:extLst>
              <a:ext uri="{FF2B5EF4-FFF2-40B4-BE49-F238E27FC236}">
                <a16:creationId xmlns:a16="http://schemas.microsoft.com/office/drawing/2014/main" id="{3DB74F96-C3E9-CFD0-9557-27800ACA19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0" y="2205653"/>
            <a:ext cx="5937714" cy="4018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0C4A4B46-2953-EA02-6A11-0A8905FEF887}"/>
              </a:ext>
            </a:extLst>
          </p:cNvPr>
          <p:cNvSpPr txBox="1"/>
          <p:nvPr/>
        </p:nvSpPr>
        <p:spPr>
          <a:xfrm>
            <a:off x="7038292" y="2418834"/>
            <a:ext cx="488700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near </a:t>
            </a:r>
            <a:r>
              <a:rPr lang="pt-PT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gression</a:t>
            </a:r>
            <a:r>
              <a:rPr lang="pt-PT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del</a:t>
            </a:r>
            <a:r>
              <a:rPr lang="pt-PT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pt-PT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t-PT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nearity</a:t>
            </a:r>
            <a:r>
              <a:rPr lang="pt-PT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pt-PT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ationarity</a:t>
            </a:r>
            <a:r>
              <a:rPr lang="pt-PT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“</a:t>
            </a:r>
            <a:r>
              <a:rPr lang="pt-PT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pt-PT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ckey-Fuller</a:t>
            </a:r>
            <a:r>
              <a:rPr lang="pt-PT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st</a:t>
            </a:r>
            <a:r>
              <a:rPr lang="pt-PT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”, </a:t>
            </a:r>
            <a:r>
              <a:rPr lang="pt-PT" sz="12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ulticollinearity</a:t>
            </a:r>
            <a:r>
              <a:rPr lang="pt-PT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pt-PT" sz="1200" dirty="0" err="1"/>
              <a:t>Hyperparameter</a:t>
            </a:r>
            <a:r>
              <a:rPr lang="pt-PT" sz="1200" dirty="0"/>
              <a:t> </a:t>
            </a:r>
            <a:r>
              <a:rPr lang="pt-PT" sz="1200" dirty="0" err="1"/>
              <a:t>Tuning</a:t>
            </a:r>
            <a:r>
              <a:rPr lang="pt-PT" sz="1200" dirty="0"/>
              <a:t>).</a:t>
            </a:r>
            <a:endParaRPr lang="pt-PT"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E40719D7-D572-CB8D-C2B6-E7AC70C262B8}"/>
              </a:ext>
            </a:extLst>
          </p:cNvPr>
          <p:cNvSpPr txBox="1"/>
          <p:nvPr/>
        </p:nvSpPr>
        <p:spPr>
          <a:xfrm>
            <a:off x="7038292" y="3185636"/>
            <a:ext cx="488700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dirty="0" err="1"/>
              <a:t>Random</a:t>
            </a:r>
            <a:r>
              <a:rPr lang="pt-PT" dirty="0"/>
              <a:t> </a:t>
            </a:r>
            <a:r>
              <a:rPr lang="pt-PT" dirty="0" err="1"/>
              <a:t>Forest</a:t>
            </a:r>
            <a:r>
              <a:rPr lang="pt-PT" dirty="0"/>
              <a:t> </a:t>
            </a:r>
            <a:r>
              <a:rPr lang="pt-PT" dirty="0" err="1"/>
              <a:t>Regressor</a:t>
            </a:r>
            <a:endParaRPr lang="pt-PT" dirty="0"/>
          </a:p>
          <a:p>
            <a:r>
              <a:rPr lang="pt-PT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t-PT" sz="1200" dirty="0"/>
              <a:t>No </a:t>
            </a:r>
            <a:r>
              <a:rPr lang="pt-PT" sz="1200" dirty="0" err="1"/>
              <a:t>strict</a:t>
            </a:r>
            <a:r>
              <a:rPr lang="pt-PT" sz="1200" dirty="0"/>
              <a:t> </a:t>
            </a:r>
            <a:r>
              <a:rPr lang="pt-PT" sz="1200" dirty="0" err="1"/>
              <a:t>assumptions</a:t>
            </a:r>
            <a:r>
              <a:rPr lang="pt-PT" sz="1200" dirty="0"/>
              <a:t>, No </a:t>
            </a:r>
            <a:r>
              <a:rPr lang="pt-PT" sz="1200" dirty="0" err="1"/>
              <a:t>Scaling</a:t>
            </a:r>
            <a:r>
              <a:rPr lang="pt-PT" sz="1200" dirty="0"/>
              <a:t> </a:t>
            </a:r>
            <a:r>
              <a:rPr lang="pt-PT" sz="1200" dirty="0" err="1"/>
              <a:t>Needed</a:t>
            </a:r>
            <a:r>
              <a:rPr lang="pt-PT" sz="1200" dirty="0"/>
              <a:t> &amp; </a:t>
            </a:r>
            <a:r>
              <a:rPr lang="pt-PT" sz="1200" dirty="0" err="1"/>
              <a:t>Hyperparameter</a:t>
            </a:r>
            <a:r>
              <a:rPr lang="pt-PT" sz="1200" dirty="0"/>
              <a:t> </a:t>
            </a:r>
            <a:r>
              <a:rPr lang="pt-PT" sz="1200" dirty="0" err="1"/>
              <a:t>Tuning</a:t>
            </a:r>
            <a:r>
              <a:rPr lang="pt-PT" sz="1200" dirty="0"/>
              <a:t>).</a:t>
            </a:r>
            <a:endParaRPr lang="pt-PT"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AB8B3180-381E-D761-1B06-0D28FFA854F5}"/>
              </a:ext>
            </a:extLst>
          </p:cNvPr>
          <p:cNvSpPr txBox="1"/>
          <p:nvPr/>
        </p:nvSpPr>
        <p:spPr>
          <a:xfrm>
            <a:off x="7038292" y="3876238"/>
            <a:ext cx="488700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Long Short-Term Memory (LSTM) Model</a:t>
            </a:r>
          </a:p>
          <a:p>
            <a:r>
              <a:rPr lang="pt-PT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t-PT" sz="1200" dirty="0"/>
              <a:t>Temporal </a:t>
            </a:r>
            <a:r>
              <a:rPr lang="pt-PT" sz="1200" dirty="0" err="1"/>
              <a:t>Dependency</a:t>
            </a:r>
            <a:r>
              <a:rPr lang="pt-PT" sz="1200" dirty="0"/>
              <a:t>, </a:t>
            </a:r>
            <a:r>
              <a:rPr lang="pt-PT" sz="1200" dirty="0" err="1"/>
              <a:t>Stationarity</a:t>
            </a:r>
            <a:r>
              <a:rPr lang="pt-PT" sz="1200" dirty="0"/>
              <a:t>, </a:t>
            </a:r>
            <a:r>
              <a:rPr lang="pt-PT" sz="1200" dirty="0" err="1"/>
              <a:t>Scaling</a:t>
            </a:r>
            <a:r>
              <a:rPr lang="pt-PT" sz="1200" dirty="0"/>
              <a:t> &amp; </a:t>
            </a:r>
            <a:r>
              <a:rPr lang="pt-PT" sz="1200" dirty="0" err="1"/>
              <a:t>Hyperparameter</a:t>
            </a:r>
            <a:r>
              <a:rPr lang="pt-PT" sz="1200" dirty="0"/>
              <a:t> </a:t>
            </a:r>
            <a:r>
              <a:rPr lang="pt-PT" sz="1200" dirty="0" err="1"/>
              <a:t>Tuning</a:t>
            </a:r>
            <a:r>
              <a:rPr lang="pt-PT" sz="1200" dirty="0"/>
              <a:t>) </a:t>
            </a:r>
            <a:endParaRPr lang="pt-PT"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966FA64A-969C-FA02-47D3-2B46FB11D81D}"/>
              </a:ext>
            </a:extLst>
          </p:cNvPr>
          <p:cNvSpPr txBox="1"/>
          <p:nvPr/>
        </p:nvSpPr>
        <p:spPr>
          <a:xfrm>
            <a:off x="7038292" y="4566840"/>
            <a:ext cx="48870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XGBoost</a:t>
            </a:r>
            <a:r>
              <a:rPr lang="en-US" dirty="0"/>
              <a:t> with Particle Swarm Optimization (PSO)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B61C77FE-A5FD-C102-B4E4-7EDEB968A1CA}"/>
              </a:ext>
            </a:extLst>
          </p:cNvPr>
          <p:cNvSpPr txBox="1"/>
          <p:nvPr/>
        </p:nvSpPr>
        <p:spPr>
          <a:xfrm>
            <a:off x="139700" y="990243"/>
            <a:ext cx="117856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 this project, we applied </a:t>
            </a:r>
            <a:r>
              <a:rPr lang="en-US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ree key machine learning models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—</a:t>
            </a:r>
            <a:r>
              <a:rPr lang="en-US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near Regression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andom Forest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and </a:t>
            </a:r>
            <a:r>
              <a:rPr lang="en-US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STM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—to the problem of cryptocurrency price prediction and trading strategy development. Each model was carefully selected based on its suitability for the data and business problem. Additionally, </a:t>
            </a:r>
            <a:r>
              <a:rPr lang="en-US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yperparameter tuning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was proficiently used to optimize the performance of these models, ensuring that they could effectively capture patterns in the data and generate actionable trading signals.</a:t>
            </a:r>
            <a:endParaRPr lang="pt-PT"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Estrela: 4 Pontos 29">
            <a:extLst>
              <a:ext uri="{FF2B5EF4-FFF2-40B4-BE49-F238E27FC236}">
                <a16:creationId xmlns:a16="http://schemas.microsoft.com/office/drawing/2014/main" id="{E92136C2-74F8-2235-C813-5AB8399D982F}"/>
              </a:ext>
            </a:extLst>
          </p:cNvPr>
          <p:cNvSpPr/>
          <p:nvPr/>
        </p:nvSpPr>
        <p:spPr>
          <a:xfrm>
            <a:off x="9339896" y="2269530"/>
            <a:ext cx="360000" cy="360000"/>
          </a:xfrm>
          <a:prstGeom prst="star4">
            <a:avLst>
              <a:gd name="adj" fmla="val 23083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32" name="Imagem 31">
            <a:extLst>
              <a:ext uri="{FF2B5EF4-FFF2-40B4-BE49-F238E27FC236}">
                <a16:creationId xmlns:a16="http://schemas.microsoft.com/office/drawing/2014/main" id="{AA9F7418-763E-34EB-8AC3-0C985F162F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38293" y="5706407"/>
            <a:ext cx="4887007" cy="101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7911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52706A-05B4-CB56-EFB2-864C212EE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9301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92" imgH="595" progId="TCLayout.ActiveDocument.1">
                  <p:embed/>
                </p:oleObj>
              </mc:Choice>
              <mc:Fallback>
                <p:oleObj name="Slide do think-cell" r:id="rId4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52706A-05B4-CB56-EFB2-864C212EE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B552AC29-4338-F4F9-B9AD-06C68BB68108}"/>
              </a:ext>
            </a:extLst>
          </p:cNvPr>
          <p:cNvSpPr txBox="1"/>
          <p:nvPr/>
        </p:nvSpPr>
        <p:spPr>
          <a:xfrm>
            <a:off x="6007100" y="947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CHINE LEARNING MODELS APPLIED, </a:t>
            </a:r>
            <a:endParaRPr lang="pt-PT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B5E2474-5C43-BEE0-ED57-3BB9290AE2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05240" y="1003301"/>
            <a:ext cx="4383247" cy="279400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747746D7-B292-7EFE-A805-5C253E6E77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89939" y="1003301"/>
            <a:ext cx="4383247" cy="2794000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D460EAE0-A251-EDFF-BAE1-6C771016DBC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5242" y="3771901"/>
            <a:ext cx="4383245" cy="2793999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A32505E8-8C07-28F3-D426-2198B364F4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89939" y="3725864"/>
            <a:ext cx="4383244" cy="2793998"/>
          </a:xfrm>
          <a:prstGeom prst="rect">
            <a:avLst/>
          </a:prstGeom>
        </p:spPr>
      </p:pic>
      <p:pic>
        <p:nvPicPr>
          <p:cNvPr id="6148" name="Picture 4" descr="Learn about Artificial Intelligence">
            <a:extLst>
              <a:ext uri="{FF2B5EF4-FFF2-40B4-BE49-F238E27FC236}">
                <a16:creationId xmlns:a16="http://schemas.microsoft.com/office/drawing/2014/main" id="{17DF7FC6-90C2-EBD4-4E82-90569F2893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65" t="3493"/>
          <a:stretch/>
        </p:blipFill>
        <p:spPr bwMode="auto">
          <a:xfrm>
            <a:off x="0" y="698500"/>
            <a:ext cx="3098800" cy="647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79798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52706A-05B4-CB56-EFB2-864C212EE2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92" imgH="595" progId="TCLayout.ActiveDocument.1">
                  <p:embed/>
                </p:oleObj>
              </mc:Choice>
              <mc:Fallback>
                <p:oleObj name="Slide do think-cell" r:id="rId4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52706A-05B4-CB56-EFB2-864C212EE2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B552AC29-4338-F4F9-B9AD-06C68BB68108}"/>
              </a:ext>
            </a:extLst>
          </p:cNvPr>
          <p:cNvSpPr txBox="1"/>
          <p:nvPr/>
        </p:nvSpPr>
        <p:spPr>
          <a:xfrm>
            <a:off x="6007100" y="947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ED PRICES</a:t>
            </a:r>
            <a:endParaRPr lang="pt-PT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866C514E-4C08-AAEF-837C-F371A2A0AD3C}"/>
              </a:ext>
            </a:extLst>
          </p:cNvPr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458689" y="1450020"/>
            <a:ext cx="3564000" cy="2304000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BF98F4F1-B8A5-872C-DFFD-4D35D3BB707B}"/>
              </a:ext>
            </a:extLst>
          </p:cNvPr>
          <p:cNvPicPr preferRelativeResize="0"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4337121" y="1450020"/>
            <a:ext cx="3564000" cy="2304000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3C082CA3-8146-16CF-B29A-95C9FC96D64C}"/>
              </a:ext>
            </a:extLst>
          </p:cNvPr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458689" y="4253127"/>
            <a:ext cx="3564000" cy="2304000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9B54CE20-6F7D-3D79-44B4-3EAAACA49F80}"/>
              </a:ext>
            </a:extLst>
          </p:cNvPr>
          <p:cNvPicPr preferRelativeResize="0"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4375871" y="4242917"/>
            <a:ext cx="3564000" cy="2304000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0FD361A6-26FA-96D3-87F5-0BB537DE5621}"/>
              </a:ext>
            </a:extLst>
          </p:cNvPr>
          <p:cNvPicPr preferRelativeResize="0"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8215554" y="1450020"/>
            <a:ext cx="3564000" cy="2304000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141AEB6C-1D67-BC03-E7B3-C2F4A7061C8A}"/>
              </a:ext>
            </a:extLst>
          </p:cNvPr>
          <p:cNvPicPr preferRelativeResize="0"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8215554" y="4242918"/>
            <a:ext cx="3564000" cy="2304000"/>
          </a:xfrm>
          <a:prstGeom prst="rect">
            <a:avLst/>
          </a:prstGeom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8F57B381-97C0-DA0D-2AE5-733BD71E7509}"/>
              </a:ext>
            </a:extLst>
          </p:cNvPr>
          <p:cNvSpPr txBox="1"/>
          <p:nvPr/>
        </p:nvSpPr>
        <p:spPr>
          <a:xfrm>
            <a:off x="458689" y="831135"/>
            <a:ext cx="221727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000" b="1" dirty="0" err="1">
                <a:solidFill>
                  <a:schemeClr val="accent2">
                    <a:lumMod val="50000"/>
                  </a:schemeClr>
                </a:solidFill>
              </a:rPr>
              <a:t>Predited</a:t>
            </a:r>
            <a:r>
              <a:rPr lang="pt-PT" sz="1000" b="1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pt-PT" sz="1000" b="1" dirty="0" err="1">
                <a:solidFill>
                  <a:schemeClr val="accent2">
                    <a:lumMod val="50000"/>
                  </a:schemeClr>
                </a:solidFill>
              </a:rPr>
              <a:t>Crypo</a:t>
            </a:r>
            <a:r>
              <a:rPr lang="pt-PT" sz="1000" b="1" dirty="0">
                <a:solidFill>
                  <a:schemeClr val="accent2">
                    <a:lumMod val="50000"/>
                  </a:schemeClr>
                </a:solidFill>
              </a:rPr>
              <a:t> Coins Price Sample</a:t>
            </a:r>
          </a:p>
        </p:txBody>
      </p:sp>
    </p:spTree>
    <p:extLst>
      <p:ext uri="{BB962C8B-B14F-4D97-AF65-F5344CB8AC3E}">
        <p14:creationId xmlns:p14="http://schemas.microsoft.com/office/powerpoint/2010/main" val="30790764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F4&quot; g=&quot;B9&quot; b=&quot;2D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NCh1uuKgYRp8mzbSFL.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wkPO6N75tJCNCcxy._8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MMQQHwOwp3TgCY71YK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XsYz4lD27em8.AgxHb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QTXLxbKYeClxVU.8Wr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W87sPLURqLf_r8SsAs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6RjSpHIxImFIKg370.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Wqd5ZgyfXsz3CtwXi.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SWNOdrrI3.czwv1CA9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HyAhS8d1MbjNDxAZmh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oG5mbkH9sn6ej2WS2GO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9</TotalTime>
  <Words>1561</Words>
  <Application>Microsoft Office PowerPoint</Application>
  <PresentationFormat>Ecrã Panorâmico</PresentationFormat>
  <Paragraphs>146</Paragraphs>
  <Slides>13</Slides>
  <Notes>11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13</vt:i4>
      </vt:variant>
    </vt:vector>
  </HeadingPairs>
  <TitlesOfParts>
    <vt:vector size="22" baseType="lpstr">
      <vt:lpstr>Aptos</vt:lpstr>
      <vt:lpstr>Aptos Display</vt:lpstr>
      <vt:lpstr>Arial</vt:lpstr>
      <vt:lpstr>Bradley Hand ITC</vt:lpstr>
      <vt:lpstr>Calibri</vt:lpstr>
      <vt:lpstr>Google Sans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reskovvi ..</dc:creator>
  <cp:lastModifiedBy>Preskovvi ..</cp:lastModifiedBy>
  <cp:revision>2</cp:revision>
  <dcterms:created xsi:type="dcterms:W3CDTF">2024-09-04T09:58:29Z</dcterms:created>
  <dcterms:modified xsi:type="dcterms:W3CDTF">2024-09-06T11:24:44Z</dcterms:modified>
</cp:coreProperties>
</file>